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  <p:sldMasterId id="2147483735" r:id="rId2"/>
  </p:sldMasterIdLst>
  <p:notesMasterIdLst>
    <p:notesMasterId r:id="rId34"/>
  </p:notesMasterIdLst>
  <p:handoutMasterIdLst>
    <p:handoutMasterId r:id="rId35"/>
  </p:handoutMasterIdLst>
  <p:sldIdLst>
    <p:sldId id="257" r:id="rId3"/>
    <p:sldId id="259" r:id="rId4"/>
    <p:sldId id="1359" r:id="rId5"/>
    <p:sldId id="1350" r:id="rId6"/>
    <p:sldId id="1351" r:id="rId7"/>
    <p:sldId id="266" r:id="rId8"/>
    <p:sldId id="282" r:id="rId9"/>
    <p:sldId id="283" r:id="rId10"/>
    <p:sldId id="284" r:id="rId11"/>
    <p:sldId id="285" r:id="rId12"/>
    <p:sldId id="286" r:id="rId13"/>
    <p:sldId id="287" r:id="rId14"/>
    <p:sldId id="288" r:id="rId15"/>
    <p:sldId id="289" r:id="rId16"/>
    <p:sldId id="290" r:id="rId17"/>
    <p:sldId id="291" r:id="rId18"/>
    <p:sldId id="274" r:id="rId19"/>
    <p:sldId id="1352" r:id="rId20"/>
    <p:sldId id="1353" r:id="rId21"/>
    <p:sldId id="1354" r:id="rId22"/>
    <p:sldId id="1355" r:id="rId23"/>
    <p:sldId id="1356" r:id="rId24"/>
    <p:sldId id="1357" r:id="rId25"/>
    <p:sldId id="1358" r:id="rId26"/>
    <p:sldId id="1342" r:id="rId27"/>
    <p:sldId id="1343" r:id="rId28"/>
    <p:sldId id="1344" r:id="rId29"/>
    <p:sldId id="1345" r:id="rId30"/>
    <p:sldId id="1346" r:id="rId31"/>
    <p:sldId id="1347" r:id="rId32"/>
    <p:sldId id="1348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bout the Template" id="{834F39F6-D0BC-DA4B-9D2B-0EC3012CFA6F}">
          <p14:sldIdLst/>
        </p14:section>
        <p14:section name="Light theme" id="{4C6A757E-5EA1-2B40-AB96-DA20F26B9C5B}">
          <p14:sldIdLst>
            <p14:sldId id="257"/>
            <p14:sldId id="259"/>
            <p14:sldId id="1359"/>
            <p14:sldId id="1350"/>
            <p14:sldId id="1351"/>
            <p14:sldId id="266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74"/>
            <p14:sldId id="1352"/>
            <p14:sldId id="1353"/>
            <p14:sldId id="1354"/>
            <p14:sldId id="1355"/>
            <p14:sldId id="1356"/>
            <p14:sldId id="1357"/>
            <p14:sldId id="1358"/>
            <p14:sldId id="1342"/>
            <p14:sldId id="1343"/>
            <p14:sldId id="1344"/>
            <p14:sldId id="1345"/>
            <p14:sldId id="1346"/>
            <p14:sldId id="1347"/>
            <p14:sldId id="1348"/>
          </p14:sldIdLst>
        </p14:section>
        <p14:section name="Dark theme" id="{CE96F278-2CD3-4941-BA15-3EEB0D5547D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3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5052"/>
    <a:srgbClr val="56504B"/>
    <a:srgbClr val="67605B"/>
    <a:srgbClr val="79726D"/>
    <a:srgbClr val="8B8580"/>
    <a:srgbClr val="FCFBFA"/>
    <a:srgbClr val="E5DBBE"/>
    <a:srgbClr val="41817E"/>
    <a:srgbClr val="2E686C"/>
    <a:srgbClr val="4F86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58" autoAdjust="0"/>
    <p:restoredTop sz="86492"/>
  </p:normalViewPr>
  <p:slideViewPr>
    <p:cSldViewPr snapToGrid="0">
      <p:cViewPr varScale="1">
        <p:scale>
          <a:sx n="100" d="100"/>
          <a:sy n="100" d="100"/>
        </p:scale>
        <p:origin x="288" y="160"/>
      </p:cViewPr>
      <p:guideLst>
        <p:guide orient="horz" pos="2160"/>
        <p:guide pos="3840"/>
        <p:guide orient="horz" pos="1321"/>
      </p:guideLst>
    </p:cSldViewPr>
  </p:slideViewPr>
  <p:outlineViewPr>
    <p:cViewPr>
      <p:scale>
        <a:sx n="33" d="100"/>
        <a:sy n="33" d="100"/>
      </p:scale>
      <p:origin x="0" y="-422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266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EEA5244-BC3A-7A4D-B9E6-B928720290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5B08D4-33FD-AB4E-971F-C23E61AE92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8EAA9E-1093-D14D-94D0-A8FEE2F5FD92}" type="datetime1">
              <a:rPr lang="en-US" smtClean="0"/>
              <a:t>9/27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A749FB-11A2-4844-A3E2-6409BDCA47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54BFF-84E0-DD4D-AA95-9000411895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63F28C-7873-F94D-89B6-7E3636EF757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26506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6E2DF-E5CB-4742-ABB6-C2391D74E6B3}" type="datetime1">
              <a:rPr lang="en-US" smtClean="0"/>
              <a:t>9/2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C16FB-9D68-C74B-AABD-CDFC2ED74F2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88842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495E0F7-BDCD-40B6-ADD2-43E4A94DFE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85429" y="3138723"/>
            <a:ext cx="4421144" cy="58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607D7595-0F06-9348-9510-071B643A1E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6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6" y="5564669"/>
            <a:ext cx="998378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6"/>
            <a:ext cx="2589212" cy="110690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BF82DE-33C5-3A4E-A2BE-056AD4CD8E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6E2F52-3B6A-46A0-AAA4-214A1F01ED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0545" y="4661231"/>
            <a:ext cx="6315978" cy="21809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0545" y="4952092"/>
            <a:ext cx="6315978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30545" y="1850640"/>
            <a:ext cx="6315978" cy="225153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 userDrawn="1"/>
        </p:nvSpPr>
        <p:spPr>
          <a:xfrm>
            <a:off x="5430546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BEAECEC9-004F-624F-96D0-64C7FD4409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238AF8-3EBB-8C42-9D7F-306684D525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6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E7EFAFBA-C533-AF47-8C5A-87A157976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A203EF7-0022-9042-AE87-EABCBB9B126E}"/>
              </a:ext>
            </a:extLst>
          </p:cNvPr>
          <p:cNvSpPr/>
          <p:nvPr userDrawn="1"/>
        </p:nvSpPr>
        <p:spPr>
          <a:xfrm>
            <a:off x="722371" y="587874"/>
            <a:ext cx="10747258" cy="5682253"/>
          </a:xfrm>
          <a:prstGeom prst="rect">
            <a:avLst/>
          </a:prstGeom>
          <a:solidFill>
            <a:srgbClr val="E0E2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4" y="1101969"/>
            <a:ext cx="9165494" cy="2975336"/>
          </a:xfrm>
        </p:spPr>
        <p:txBody>
          <a:bodyPr lIns="0" anchor="b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4" y="4637490"/>
            <a:ext cx="9165494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30214" y="4962513"/>
            <a:ext cx="9165494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 userDrawn="1"/>
        </p:nvSpPr>
        <p:spPr>
          <a:xfrm>
            <a:off x="1530215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66F36DD-F60C-6546-9240-CD06125DC8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583B7E-CE5D-AD4D-B063-8E5D2E58D0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97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-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190DBB-69E8-094F-9F7D-5D6A482AA94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2233A9-8B36-4159-8975-F1366CB54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84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A362B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A31DDD-B87C-9941-AC16-648C97686F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9B5254-C1BE-4BD7-AEA0-11CA078C98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3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A188CAD-EDD5-0B4B-ACA6-7BB921B673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49192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9915E-3BB4-984C-995B-EC93CAB6F86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FAA5D-3D6F-42A2-BC58-445E0F3D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34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BB1C4CD-239E-1A45-BED4-F5593A57A2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7508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944C2F4-C444-E840-AF85-154A3F44C6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6922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D64B38-6D6E-134B-A424-A829933EEF4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C75FCB-2F08-4218-8648-A3F1B1E55A7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DDCF91-9764-4404-A8F5-D333B2B56FE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31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0" y="2271143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0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7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FDFA13-DE4E-D74A-967B-DF86B2E018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AC52EB-2486-4E8F-B076-394C9E4D6BB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FE87C6-A422-44C8-ACAF-34E689290F2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6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35CFAFF-A02A-3C47-8BEF-C0EB011E7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906500" cy="914400"/>
          </a:xfrm>
        </p:spPr>
        <p:txBody>
          <a:bodyPr lIns="0" rIns="0">
            <a:noAutofit/>
          </a:bodyPr>
          <a:lstStyle>
            <a:lvl1pPr>
              <a:defRPr sz="6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6" y="3231646"/>
            <a:ext cx="4371153" cy="914400"/>
          </a:xfr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1800" b="0" i="0">
                <a:solidFill>
                  <a:srgbClr val="4A362B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5AD46E-6202-4D45-AEE6-9E3FC06948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1D0A30-5593-40C9-9453-438629C2E1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A02545-480D-4E7B-9346-BAF45A820D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80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rgbClr val="4E3629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EF0904C-A879-D843-B633-25611F0A9B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411D17-F083-41F6-918B-798D71F778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0E5B1C-BBF2-49B4-9888-69F0DADBB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2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08427B9D-AAC0-4043-8DC3-58E7B3497D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40B289-DD9F-42D1-BB13-0675E99B75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2EBD4F-0442-764D-95B1-7BB4691D116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AB6B7-FC6F-4EEC-B0F1-9C335F9667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5F679F-0E14-4249-A487-FC23DA4493B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00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hank you 2">
    <p:bg>
      <p:bgPr>
        <a:solidFill>
          <a:srgbClr val="72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E9993A3-6C44-3E43-901B-8B5EA2ACF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101D4-18B6-9A46-8025-E830A44D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D757BAF-41C4-7642-A4DE-49E96BDA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63FD2FE0-050F-8C48-9CCE-7426577AF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9B9976F2-AC01-0B48-8E64-DD931422FA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E9DA60-A8F5-5C46-87BD-583E2F3FB50A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8DA1F36F-A66E-2744-9B9A-0F241EF7D8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786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D5DCFC1-0F99-EB42-9252-693A872EE5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27DC7F-5A5A-4C5E-9803-014AD28FF4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F94833-4AC2-476E-A6DE-A03E7A4DDD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93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DAA8E5EA-5030-48C4-99E7-E61D164BD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5429" y="3138723"/>
            <a:ext cx="4421144" cy="58055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198333D-FF3E-E64D-8889-26B8EFCA26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0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5A834A-43F9-4474-9552-1B566FAA2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4" name="Picture 13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7C1B8942-1252-40E6-8C4B-37AD51638E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rgbClr val="ECB85A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9BCFA5F-5611-BA47-A551-0D3BA36CA7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DB96B-56B7-46AB-80A5-E740BBCB8B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0259F-EE98-4E77-9839-4C299CEA3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35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F6432D01-A6C7-114E-B0E4-99D85C239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8"/>
          <a:stretch/>
        </p:blipFill>
        <p:spPr>
          <a:xfrm>
            <a:off x="7080948" y="212826"/>
            <a:ext cx="5111051" cy="2299468"/>
          </a:xfrm>
          <a:prstGeom prst="rect">
            <a:avLst/>
          </a:prstGeom>
        </p:spPr>
      </p:pic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3"/>
          <a:stretch/>
        </p:blipFill>
        <p:spPr>
          <a:xfrm>
            <a:off x="9334" y="1125489"/>
            <a:ext cx="2864667" cy="16497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9A174D-36B9-9A49-AD57-EE666A0CE566}"/>
              </a:ext>
            </a:extLst>
          </p:cNvPr>
          <p:cNvSpPr/>
          <p:nvPr userDrawn="1"/>
        </p:nvSpPr>
        <p:spPr>
          <a:xfrm>
            <a:off x="10418601" y="5036959"/>
            <a:ext cx="261122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BAD0F-FE4F-2F4E-95EB-338C4059E78B}"/>
              </a:ext>
            </a:extLst>
          </p:cNvPr>
          <p:cNvSpPr/>
          <p:nvPr userDrawn="1"/>
        </p:nvSpPr>
        <p:spPr>
          <a:xfrm>
            <a:off x="11502723" y="5644791"/>
            <a:ext cx="100826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01AE0-191D-0D4F-8D04-33B0884AFE47}"/>
              </a:ext>
            </a:extLst>
          </p:cNvPr>
          <p:cNvSpPr/>
          <p:nvPr userDrawn="1"/>
        </p:nvSpPr>
        <p:spPr>
          <a:xfrm>
            <a:off x="11008032" y="4790761"/>
            <a:ext cx="643642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70C1B-C4CA-9C4C-BBFD-7F9898CE084C}"/>
              </a:ext>
            </a:extLst>
          </p:cNvPr>
          <p:cNvSpPr/>
          <p:nvPr userDrawn="1"/>
        </p:nvSpPr>
        <p:spPr>
          <a:xfrm>
            <a:off x="10808761" y="5036959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226D1F-36E2-FB4B-94C3-CBD02190671F}"/>
              </a:ext>
            </a:extLst>
          </p:cNvPr>
          <p:cNvSpPr/>
          <p:nvPr userDrawn="1"/>
        </p:nvSpPr>
        <p:spPr>
          <a:xfrm>
            <a:off x="11508670" y="56468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sz="1600" b="0" i="0">
                <a:solidFill>
                  <a:srgbClr val="ECB85A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45421AE-3506-4D43-95C5-E39AB50FF8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B4C9E13-DA16-49DD-BFBD-74BB1FA200C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A4113C-20DC-4967-AA08-3F6C42E69B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7E3DB1-B881-493F-8F99-117753D304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02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A6A809C4-004B-41C4-A764-304E91EF7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16F8285-7F80-9E47-812A-1A8AFBF90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68" y="838952"/>
            <a:ext cx="1345809" cy="1718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443AB50-F71A-C141-8E4C-4C3726E160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7D5317-746C-4CF0-AEEE-2D7626ECBD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71D98D-6B46-48EF-8D0D-2AAA099A55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08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A4C97F1E-BE16-AA42-BFFE-49B2AA09D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3"/>
          <a:stretch/>
        </p:blipFill>
        <p:spPr>
          <a:xfrm flipH="1">
            <a:off x="7263302" y="224473"/>
            <a:ext cx="4928697" cy="2612033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5" b="27845"/>
          <a:stretch/>
        </p:blipFill>
        <p:spPr>
          <a:xfrm>
            <a:off x="-1" y="5667593"/>
            <a:ext cx="3807059" cy="11904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16F8285-7F80-9E47-812A-1A8AFBF908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68" y="838952"/>
            <a:ext cx="1345809" cy="1718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6A5C7BD-760D-5147-B15C-5257558DF45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453DE52-AC7B-4161-B95D-697859A920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213284-E15E-4389-B747-0878740056C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95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afe Harbo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Safe harbor stat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e following is intended to outline our general product direction. It is intended for information purposes only, and may not be incorporated into any contract. It is not a commitment to deliver any material, code, or functionality, and should not be relied upon in making purchasing decisions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development, release, timing, and pricing of any features or functionality described for Oracle’s products may change and remains at the sole discretion of Oracle Corporatio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01B341-CE4F-4A4A-83C2-9813F15E75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90D434-9F80-4D7D-840A-0535E9467C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AEB73-FD9D-4BDC-8014-8A23904D57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54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Dark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01B341-CE4F-4A4A-83C2-9813F15E75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90D434-9F80-4D7D-840A-0535E9467C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8AEB73-FD9D-4BDC-8014-8A23904D57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68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59226" y="1729568"/>
            <a:ext cx="6184238" cy="482019"/>
          </a:xfrm>
        </p:spPr>
        <p:txBody>
          <a:bodyPr lIns="0">
            <a:noAutofit/>
          </a:bodyPr>
          <a:lstStyle>
            <a:lvl1pPr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59226" y="2852531"/>
            <a:ext cx="6184237" cy="2587963"/>
          </a:xfrm>
        </p:spPr>
        <p:txBody>
          <a:bodyPr lIns="0" anchor="ctr" anchorCtr="0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D3678D-880F-6545-80F0-0F8C8579C9E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D20634-3E03-42BA-9E65-8D474CE5DB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B103B-7B4E-4EF2-B2AC-56C456AA73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/>
          <a:stretch/>
        </p:blipFill>
        <p:spPr>
          <a:xfrm>
            <a:off x="6337183" y="565565"/>
            <a:ext cx="5854818" cy="31694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 userDrawn="1"/>
        </p:nvSpPr>
        <p:spPr>
          <a:xfrm>
            <a:off x="761288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9720989-2482-AB44-A4C6-51E24E7790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F703C9-4FDD-4F44-9D4C-DE37399565B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42AF7-5BA7-456C-A09B-16DC37B984D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69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F6432D01-A6C7-114E-B0E4-99D85C239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8"/>
          <a:stretch/>
        </p:blipFill>
        <p:spPr>
          <a:xfrm>
            <a:off x="7080948" y="212826"/>
            <a:ext cx="5111051" cy="2299468"/>
          </a:xfrm>
          <a:prstGeom prst="rect">
            <a:avLst/>
          </a:prstGeom>
        </p:spPr>
      </p:pic>
      <p:pic>
        <p:nvPicPr>
          <p:cNvPr id="13" name="Picture 12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1DB4A463-D340-944F-9609-68DBCA3E8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93"/>
          <a:stretch/>
        </p:blipFill>
        <p:spPr>
          <a:xfrm>
            <a:off x="9334" y="1125489"/>
            <a:ext cx="2864667" cy="16497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9A174D-36B9-9A49-AD57-EE666A0CE566}"/>
              </a:ext>
            </a:extLst>
          </p:cNvPr>
          <p:cNvSpPr/>
          <p:nvPr userDrawn="1"/>
        </p:nvSpPr>
        <p:spPr>
          <a:xfrm>
            <a:off x="10418601" y="5036959"/>
            <a:ext cx="261122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BAD0F-FE4F-2F4E-95EB-338C4059E78B}"/>
              </a:ext>
            </a:extLst>
          </p:cNvPr>
          <p:cNvSpPr/>
          <p:nvPr userDrawn="1"/>
        </p:nvSpPr>
        <p:spPr>
          <a:xfrm>
            <a:off x="11502723" y="5644791"/>
            <a:ext cx="100826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01AE0-191D-0D4F-8D04-33B0884AFE47}"/>
              </a:ext>
            </a:extLst>
          </p:cNvPr>
          <p:cNvSpPr/>
          <p:nvPr userDrawn="1"/>
        </p:nvSpPr>
        <p:spPr>
          <a:xfrm>
            <a:off x="11008032" y="4790761"/>
            <a:ext cx="643642" cy="57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70C1B-C4CA-9C4C-BBFD-7F9898CE084C}"/>
              </a:ext>
            </a:extLst>
          </p:cNvPr>
          <p:cNvSpPr/>
          <p:nvPr userDrawn="1"/>
        </p:nvSpPr>
        <p:spPr>
          <a:xfrm>
            <a:off x="10808761" y="5036959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226D1F-36E2-FB4B-94C3-CBD02190671F}"/>
              </a:ext>
            </a:extLst>
          </p:cNvPr>
          <p:cNvSpPr/>
          <p:nvPr userDrawn="1"/>
        </p:nvSpPr>
        <p:spPr>
          <a:xfrm>
            <a:off x="11508670" y="56468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C08E0869-9921-1B40-A001-9F36EFAFD2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3611" y="3892527"/>
            <a:ext cx="10073301" cy="1830180"/>
          </a:xfrm>
        </p:spPr>
        <p:txBody>
          <a:bodyPr lIns="0" rIns="0">
            <a:noAutofit/>
          </a:bodyPr>
          <a:lstStyle>
            <a:lvl1pPr marL="0" indent="0">
              <a:lnSpc>
                <a:spcPts val="1400"/>
              </a:lnSpc>
              <a:buFont typeface="+mj-lt"/>
              <a:buNone/>
              <a:defRPr lang="en-US" sz="1600" b="0" i="0" kern="1200" dirty="0">
                <a:solidFill>
                  <a:schemeClr val="accent2">
                    <a:lumMod val="50000"/>
                  </a:schemeClr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presenter’s name, title, division/business unit/organization and date</a:t>
            </a:r>
          </a:p>
          <a:p>
            <a:pPr lvl="0"/>
            <a:endParaRPr lang="en-US" dirty="0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268194"/>
            <a:ext cx="10076344" cy="90998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214300"/>
            <a:ext cx="10076344" cy="416073"/>
          </a:xfrm>
        </p:spPr>
        <p:txBody>
          <a:bodyPr wrap="none"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D732C4C-DA70-0042-B009-10E37C1013E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61CE04F3-8912-47E4-834D-89C2BAF9E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AD337C-619D-4AAC-8ECC-D9CE43DFCB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407DA-952F-46A6-BF37-E6B0231DF5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82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607D7595-0F06-9348-9510-071B643A1E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00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6250C7C-7F0B-2B44-AAA6-883F6AB7E0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4B90B0-B853-6F47-ACDA-C26DB60F0F3D}"/>
              </a:ext>
            </a:extLst>
          </p:cNvPr>
          <p:cNvSpPr txBox="1">
            <a:spLocks/>
          </p:cNvSpPr>
          <p:nvPr userDrawn="1"/>
        </p:nvSpPr>
        <p:spPr>
          <a:xfrm>
            <a:off x="875356" y="5535006"/>
            <a:ext cx="9983144" cy="7207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ts val="1800"/>
              </a:lnSpc>
              <a:spcBef>
                <a:spcPts val="0"/>
              </a:spcBef>
              <a:buNone/>
              <a:defRPr lang="en-US" sz="1400" b="1" i="0" kern="1200">
                <a:solidFill>
                  <a:schemeClr val="bg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endParaRPr lang="en-US" sz="1400" b="0" i="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0252080-E2D5-6447-93EB-F3E1BDF7CD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6" y="2346183"/>
            <a:ext cx="9983786" cy="2242890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C9068F71-E098-E049-81D3-5491AAF8DE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6" y="5239646"/>
            <a:ext cx="998378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3" name="Text Placeholder 26">
            <a:extLst>
              <a:ext uri="{FF2B5EF4-FFF2-40B4-BE49-F238E27FC236}">
                <a16:creationId xmlns:a16="http://schemas.microsoft.com/office/drawing/2014/main" id="{87089DAA-9281-6045-B621-B0A8295117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6" y="5564669"/>
            <a:ext cx="998378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Picture Placeholder 19">
            <a:extLst>
              <a:ext uri="{FF2B5EF4-FFF2-40B4-BE49-F238E27FC236}">
                <a16:creationId xmlns:a16="http://schemas.microsoft.com/office/drawing/2014/main" id="{806BB0D3-072D-8D47-8C70-E1851CE928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8096" y="955256"/>
            <a:ext cx="2589212" cy="110690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65B80A-580D-054A-A47B-A7433DB02574}"/>
              </a:ext>
            </a:extLst>
          </p:cNvPr>
          <p:cNvSpPr/>
          <p:nvPr userDrawn="1"/>
        </p:nvSpPr>
        <p:spPr>
          <a:xfrm>
            <a:off x="768097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2846F1-7A16-524E-98CA-4D4F833E63E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C62E7F-282B-48B1-B108-B32B3016C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4A5CEE-4E2B-4A73-B504-17B364D970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15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660ACC2F-3202-B843-8CCE-6D68B1FA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0545" y="4661231"/>
            <a:ext cx="6315978" cy="218094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63B99ECC-6BAB-0F46-88DB-26AE80C34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30545" y="4952092"/>
            <a:ext cx="6315978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38A1ED2B-730F-DB4F-8E69-07241B0A49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30545" y="1850640"/>
            <a:ext cx="6315978" cy="225153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4BA13B-C4E1-6147-9655-829168E5E266}"/>
              </a:ext>
            </a:extLst>
          </p:cNvPr>
          <p:cNvSpPr/>
          <p:nvPr userDrawn="1"/>
        </p:nvSpPr>
        <p:spPr>
          <a:xfrm>
            <a:off x="5430546" y="434263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E12F1A-E94A-0A4E-A3DE-82C421C99EA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3CB455-1A65-4638-A09E-2C0F6C4FCC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AE9173-05B9-4760-A0D4-0486B3A93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8B8078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66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ote with 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94572D87-83C8-4D60-8607-77A65AD00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F65EEC53-4965-C84F-B964-03CF9283D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0214" y="1101969"/>
            <a:ext cx="9165494" cy="2975336"/>
          </a:xfrm>
        </p:spPr>
        <p:txBody>
          <a:bodyPr lIns="0" anchor="b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32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“Click to type customer or partner quote surrounded by quotation marks.”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1AD57123-EDE4-954E-9A92-A3083B1C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30214" y="4637490"/>
            <a:ext cx="9165494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9C7075CA-1EBB-F043-A768-C5814E1A58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0214" y="4962513"/>
            <a:ext cx="9165494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3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C74FEB-50F3-4449-8D38-99E6A564975E}"/>
              </a:ext>
            </a:extLst>
          </p:cNvPr>
          <p:cNvSpPr/>
          <p:nvPr userDrawn="1"/>
        </p:nvSpPr>
        <p:spPr>
          <a:xfrm>
            <a:off x="1530215" y="430369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AF76C97-2AF5-984A-BC34-9ABED7D388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5A1AAF-2FDA-6B4B-8E12-89DBB584CE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731519-DE0B-9044-9816-C8DE3A05817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09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C223D3-3779-694D-9236-3435D6E11E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0E89AB-6D7B-49FA-ADF8-AEB0F9FA18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2E12AE-F7AF-4B88-AFCF-500337337F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8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ark Title and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animal&#10;&#10;Description automatically generated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 and Subtitle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chemeClr val="bg1">
                    <a:lumMod val="85000"/>
                  </a:schemeClr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078BDD-8EA2-624D-943D-2407A6AEE2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0263D7-266C-473E-8BFC-E503931B93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2E0C3C-13B8-4CC1-ABD8-21EFBE4158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89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with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wo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0A188CAD-EDD5-0B4B-ACA6-7BB921B673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49192" y="2289175"/>
            <a:ext cx="502920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DA68151-38C2-F047-9B1D-873CB0266E4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A2A4872-B0A5-43FD-A327-341D445E656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7BFA47-C221-4BA6-9841-6BFC2DFDFC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20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itle with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hree Content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AD7BD674-7999-F54A-88FF-3F982D4775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8095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8BB1C4CD-239E-1A45-BED4-F5593A57A2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7508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944C2F4-C444-E840-AF85-154A3F44C6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6922" y="2289175"/>
            <a:ext cx="3271470" cy="3108325"/>
          </a:xfrm>
        </p:spPr>
        <p:txBody>
          <a:bodyPr>
            <a:noAutofit/>
          </a:bodyPr>
          <a:lstStyle>
            <a:lvl1pPr marL="282575" indent="-282575">
              <a:lnSpc>
                <a:spcPct val="100000"/>
              </a:lnSpc>
              <a:buFont typeface="Wingdings" pitchFamily="2" charset="2"/>
              <a:buChar char="§"/>
              <a:defRPr sz="18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CFFDFB-8501-0343-938F-C9B2D425F0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7DB035-D1FE-4209-9C43-A445939A1E0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A65D-A848-4913-A21F-E28B98EC672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92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Quadrant f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close up of an animal&#10;&#10;Description automatically generated">
            <a:extLst>
              <a:ext uri="{FF2B5EF4-FFF2-40B4-BE49-F238E27FC236}">
                <a16:creationId xmlns:a16="http://schemas.microsoft.com/office/drawing/2014/main" id="{260AB3B5-6759-364A-B98F-4622117D7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573" b="25625"/>
          <a:stretch/>
        </p:blipFill>
        <p:spPr>
          <a:xfrm>
            <a:off x="6337183" y="4500749"/>
            <a:ext cx="5854818" cy="23572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46B041F-833F-AB4C-9680-F86574375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5" y="783026"/>
            <a:ext cx="10210297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Quadrant for infographics Layou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EF88010-6F25-0949-962C-71A71BBDD2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AE5D2D5-96D0-7047-93E6-327A01072B11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83F18B1C-2F6B-9349-8DAB-48E7D54A83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4246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EF89F6D-A8E2-0348-8488-D69D629143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04270" y="2271143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0723324-5918-2C42-9A87-949E736CBF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4270" y="4162024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B4578909-EA57-4049-8339-75544D89FC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04246" y="2278497"/>
            <a:ext cx="3574122" cy="11676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8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685800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 dirty="0"/>
              <a:t>Lorem ips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0E29D9-DAA7-2E49-89A3-03DD810EEA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AF8335-2BFD-424C-A8D6-CE03AA2A3F9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CD96A0-FE1C-4E74-9435-B0AAB4B9DBC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235CFAFF-A02A-3C47-8BEF-C0EB011E7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46810D-06AF-8048-A8FC-EB9C64BA98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286" y="2275167"/>
            <a:ext cx="1755671" cy="914400"/>
          </a:xfrm>
        </p:spPr>
        <p:txBody>
          <a:bodyPr lIns="0" rIns="0">
            <a:noAutofit/>
          </a:bodyPr>
          <a:lstStyle>
            <a:lvl1pPr>
              <a:defRPr sz="6000">
                <a:solidFill>
                  <a:schemeClr val="accent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354AFA5-AF57-6040-82D7-328298E6D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286" y="3231646"/>
            <a:ext cx="4371153" cy="914400"/>
          </a:xfrm>
        </p:spPr>
        <p:txBody>
          <a:bodyPr lIns="0" rIns="0">
            <a:noAutofit/>
          </a:bodyPr>
          <a:lstStyle>
            <a:lvl1pPr>
              <a:lnSpc>
                <a:spcPct val="100000"/>
              </a:lnSpc>
              <a:defRPr sz="1800" b="0" i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04F3913-8DB3-9B4C-A599-4E9263CFB7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722C6F-0E65-463D-BA3E-E6A6845F75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67B32A-89AC-4868-806F-3B49979E64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71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building, clothing&#10;&#10;Description automatically generated">
            <a:extLst>
              <a:ext uri="{FF2B5EF4-FFF2-40B4-BE49-F238E27FC236}">
                <a16:creationId xmlns:a16="http://schemas.microsoft.com/office/drawing/2014/main" id="{B16600C8-A851-494D-A5DF-470343F87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2A2E959E-F30E-F643-947E-CE66F05DD8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26">
            <a:extLst>
              <a:ext uri="{FF2B5EF4-FFF2-40B4-BE49-F238E27FC236}">
                <a16:creationId xmlns:a16="http://schemas.microsoft.com/office/drawing/2014/main" id="{2AFE612B-3DB1-C64D-BD3B-51ECDB8CE4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7F794D52-5437-F64A-97D5-34BE49EA9B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1975E737-A6D5-0E4E-AA04-5FECD0BE96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CAD913-B3D1-D145-A54B-58496F5971A5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DC8C321-EE6C-4746-A970-ABC3DF5227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935BE94-6B90-48B3-8BB2-724D091738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5CCC6-EACD-4851-BF17-0A08CC1A10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1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with bor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B5F97872-A8E7-4983-882E-ED121CE6B1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table, elephant, clothing&#10;&#10;Description automatically generated">
            <a:extLst>
              <a:ext uri="{FF2B5EF4-FFF2-40B4-BE49-F238E27FC236}">
                <a16:creationId xmlns:a16="http://schemas.microsoft.com/office/drawing/2014/main" id="{D10A2AE4-7C9C-4FBA-90B0-0F9F3467EA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0" cy="6858000"/>
          </a:xfrm>
          <a:custGeom>
            <a:avLst/>
            <a:gdLst>
              <a:gd name="connsiteX0" fmla="*/ 722372 w 12192000"/>
              <a:gd name="connsiteY0" fmla="*/ 587874 h 6858000"/>
              <a:gd name="connsiteX1" fmla="*/ 722372 w 12192000"/>
              <a:gd name="connsiteY1" fmla="*/ 6270127 h 6858000"/>
              <a:gd name="connsiteX2" fmla="*/ 11469630 w 12192000"/>
              <a:gd name="connsiteY2" fmla="*/ 6270127 h 6858000"/>
              <a:gd name="connsiteX3" fmla="*/ 11469630 w 12192000"/>
              <a:gd name="connsiteY3" fmla="*/ 58787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2372" y="587874"/>
                </a:moveTo>
                <a:lnTo>
                  <a:pt x="722372" y="6270127"/>
                </a:lnTo>
                <a:lnTo>
                  <a:pt x="11469630" y="6270127"/>
                </a:lnTo>
                <a:lnTo>
                  <a:pt x="11469630" y="58787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EC80B273-05EE-354F-BDB5-4D3CADE788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33621" y="6349718"/>
            <a:ext cx="38644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1E6192-0966-E748-B75F-334DC4B5AA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FEE8A7-2ADE-4470-B07B-CD5C5C46C5E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50568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77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hank you 2">
    <p:bg>
      <p:bgPr>
        <a:solidFill>
          <a:srgbClr val="72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7E9993A3-6C44-3E43-901B-8B5EA2ACF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101D4-18B6-9A46-8025-E830A44D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CD757BAF-41C4-7642-A4DE-49E96BDAD7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95" y="2346183"/>
            <a:ext cx="4257726" cy="2242890"/>
          </a:xfrm>
        </p:spPr>
        <p:txBody>
          <a:bodyPr lIns="0" anchor="ctr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4000" b="0" i="0">
                <a:solidFill>
                  <a:schemeClr val="bg1"/>
                </a:solidFill>
                <a:latin typeface="Georgia" panose="02040502050405020303" pitchFamily="18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63FD2FE0-050F-8C48-9CCE-7426577AF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95" y="5239646"/>
            <a:ext cx="4257726" cy="249346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9B9976F2-AC01-0B48-8E64-DD931422FA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95" y="5564669"/>
            <a:ext cx="4257726" cy="528567"/>
          </a:xfrm>
        </p:spPr>
        <p:txBody>
          <a:bodyPr lIns="0">
            <a:noAutofit/>
          </a:bodyPr>
          <a:lstStyle>
            <a:lvl1pPr algn="l" fontAlgn="t">
              <a:lnSpc>
                <a:spcPct val="100000"/>
              </a:lnSpc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E9DA60-A8F5-5C46-87BD-583E2F3FB50A}"/>
              </a:ext>
            </a:extLst>
          </p:cNvPr>
          <p:cNvSpPr/>
          <p:nvPr userDrawn="1"/>
        </p:nvSpPr>
        <p:spPr>
          <a:xfrm>
            <a:off x="768096" y="4829530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8DA1F36F-A66E-2744-9B9A-0F241EF7D8E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CDFFB6-69E0-1945-A6FC-4A46E9DBD3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A59A9-1FF3-4EFD-98EB-55C50EBCF63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15A8DD-D1C6-4413-B8AE-4F36F73AD3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7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033ABF72-EA61-493C-9C80-2766E330E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16" y="834553"/>
            <a:ext cx="1325468" cy="174051"/>
          </a:xfrm>
          <a:prstGeom prst="rect">
            <a:avLst/>
          </a:prstGeom>
        </p:spPr>
      </p:pic>
      <p:pic>
        <p:nvPicPr>
          <p:cNvPr id="11" name="Picture 10" descr="A picture containing container, basket&#10;&#10;Description automatically generated">
            <a:extLst>
              <a:ext uri="{FF2B5EF4-FFF2-40B4-BE49-F238E27FC236}">
                <a16:creationId xmlns:a16="http://schemas.microsoft.com/office/drawing/2014/main" id="{A4C97F1E-BE16-AA42-BFFE-49B2AA09D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3"/>
          <a:stretch/>
        </p:blipFill>
        <p:spPr>
          <a:xfrm flipH="1">
            <a:off x="7263302" y="224473"/>
            <a:ext cx="4928697" cy="2612033"/>
          </a:xfrm>
          <a:prstGeom prst="rect">
            <a:avLst/>
          </a:prstGeom>
        </p:spPr>
      </p:pic>
      <p:pic>
        <p:nvPicPr>
          <p:cNvPr id="12" name="Picture 11" descr="A picture containing music, black&#10;&#10;Description automatically generated">
            <a:extLst>
              <a:ext uri="{FF2B5EF4-FFF2-40B4-BE49-F238E27FC236}">
                <a16:creationId xmlns:a16="http://schemas.microsoft.com/office/drawing/2014/main" id="{5F7F53D4-47BD-9145-A247-BCC9EDCB7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5" b="27845"/>
          <a:stretch/>
        </p:blipFill>
        <p:spPr>
          <a:xfrm>
            <a:off x="-1" y="5667593"/>
            <a:ext cx="3807059" cy="11904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D9CD23F-B20E-499B-9C1E-B99F1B32803A}"/>
              </a:ext>
            </a:extLst>
          </p:cNvPr>
          <p:cNvSpPr/>
          <p:nvPr userDrawn="1"/>
        </p:nvSpPr>
        <p:spPr>
          <a:xfrm>
            <a:off x="11356270" y="5494436"/>
            <a:ext cx="101516" cy="53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itle 10">
            <a:extLst>
              <a:ext uri="{FF2B5EF4-FFF2-40B4-BE49-F238E27FC236}">
                <a16:creationId xmlns:a16="http://schemas.microsoft.com/office/drawing/2014/main" id="{10C122FE-A35D-4D48-9A96-B6651F81A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568" y="2918256"/>
            <a:ext cx="10076344" cy="909981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A6301C15-7797-A94F-B73F-2D2FFD9046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0568" y="3864362"/>
            <a:ext cx="10076344" cy="416073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0933DBA-8C55-E84B-B9A6-D9E630A11DF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53E6C-3F22-4EB7-A2A6-4B93AD63B5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57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afe Harbou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Safe harbor stat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e following is intended to outline our general product direction. It is intended for information purposes only, and may not be incorporated into any contract. It is not a commitment to deliver any material, code, or functionality, and should not be relied upon in making purchasing decisions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development, release, timing, and pricing of any features or functionality described for Oracle’s products may change and remains at the sole discretion of Oracle Corporatio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7D596B-4276-C840-B6F0-D309028DB4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09A7D7-1838-4598-8915-BF0739FE03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38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Ligh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1"/>
            <a:ext cx="5854818" cy="2341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8095" y="2288559"/>
            <a:ext cx="9887835" cy="336037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kern="0" spc="0" baseline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uis vitae </a:t>
            </a:r>
            <a:r>
              <a:rPr lang="en-US" dirty="0" err="1"/>
              <a:t>interdum</a:t>
            </a:r>
            <a:r>
              <a:rPr lang="en-US" dirty="0"/>
              <a:t> diam, non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sed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7D596B-4276-C840-B6F0-D309028DB4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09A7D7-1838-4598-8915-BF0739FE03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Picture 57">
            <a:extLst>
              <a:ext uri="{FF2B5EF4-FFF2-40B4-BE49-F238E27FC236}">
                <a16:creationId xmlns:a16="http://schemas.microsoft.com/office/drawing/2014/main" id="{9F759052-191B-B24B-BBDD-3FA59FC9E0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544" y="391999"/>
            <a:ext cx="884303" cy="39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15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Remote sp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E879062-D42A-C24B-9506-CFFED71D4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7"/>
          <a:stretch/>
        </p:blipFill>
        <p:spPr>
          <a:xfrm>
            <a:off x="0" y="254000"/>
            <a:ext cx="5133848" cy="662610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BBD2CF4-1E90-A941-8678-001223FD41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4000"/>
            <a:ext cx="5133848" cy="66261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B0DA0-F967-2742-83CF-A94F1A88E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59226" y="1729568"/>
            <a:ext cx="6184238" cy="482019"/>
          </a:xfrm>
        </p:spPr>
        <p:txBody>
          <a:bodyPr lIns="0" anchor="b">
            <a:noAutofit/>
          </a:bodyPr>
          <a:lstStyle>
            <a:lvl1pPr>
              <a:defRPr sz="2400" b="1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85E64C9-9C43-0840-BE43-4074F7178F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9226" y="2852531"/>
            <a:ext cx="6184237" cy="2587963"/>
          </a:xfrm>
        </p:spPr>
        <p:txBody>
          <a:bodyPr lIns="0" anchor="ctr" anchorCtr="0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 sz="2000" b="0" i="0">
                <a:latin typeface="Oracle Sans" panose="020B0503020204020204" pitchFamily="34" charset="0"/>
                <a:cs typeface="Oracle Sans" panose="020B0503020204020204" pitchFamily="34" charset="0"/>
              </a:defRPr>
            </a:lvl1pPr>
            <a:lvl2pPr marL="228600">
              <a:spcBef>
                <a:spcPts val="0"/>
              </a:spcBef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Add text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F6A82-2EA7-8C4D-A6E5-04849642E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83AB1BC-2635-8847-B41C-2FADD8B3257E}"/>
              </a:ext>
            </a:extLst>
          </p:cNvPr>
          <p:cNvSpPr/>
          <p:nvPr userDrawn="1"/>
        </p:nvSpPr>
        <p:spPr>
          <a:xfrm>
            <a:off x="5659227" y="2452044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32DB3A-2849-8D4A-8B24-9ED495A43E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685F9F-E87E-4E84-A301-568289B1B2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1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F35E76-93B0-4F75-B106-DAFB903A2B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05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Title and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565663"/>
            <a:ext cx="5854818" cy="3169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80E6547-E553-8B4C-B613-A55206049B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6EFD9-8225-47A7-9DFF-A350F67E94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64470" y="2302901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9AFAB69-F72F-B44B-BB67-D4480049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6"/>
            <a:ext cx="10110436" cy="844095"/>
          </a:xfrm>
        </p:spPr>
        <p:txBody>
          <a:bodyPr vert="horz" lIns="0" tIns="45720" rIns="0" bIns="45720" rtlCol="0" anchor="b">
            <a:norm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Headlin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B432C7-6194-C04D-8607-A1DFBA3219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153" y="2302995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493D53-065B-674D-B762-76404273F0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1153" y="282216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2FB6D0-D95C-6242-A795-CCD93D8A2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153" y="3341343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5DA43B-4E3A-394F-B8B3-16A0A25D88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1153" y="3860517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EC907BF-0F79-AE40-A0E1-10EDEEBBA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1153" y="4379689"/>
            <a:ext cx="439953" cy="395562"/>
          </a:xfrm>
        </p:spPr>
        <p:txBody>
          <a:bodyPr lIns="0" rIns="0">
            <a:noAutofit/>
          </a:bodyPr>
          <a:lstStyle>
            <a:lvl1pPr algn="ctr">
              <a:defRPr sz="200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FD898F-103C-F14D-85A5-5DFDF32D1E06}"/>
              </a:ext>
            </a:extLst>
          </p:cNvPr>
          <p:cNvSpPr/>
          <p:nvPr userDrawn="1"/>
        </p:nvSpPr>
        <p:spPr>
          <a:xfrm>
            <a:off x="761288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E966DA-E5B9-074E-B0AA-F5451AF51BA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064470" y="2822098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wo</a:t>
            </a:r>
          </a:p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5FDD008-E0E6-4746-AB5B-78D012E92B2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064470" y="3341295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DE72B7-8353-7C47-A8C2-69DED713D1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064470" y="3860492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ou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D1BD307-5E4B-9647-A402-54CF30BEC3C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2064470" y="4379689"/>
            <a:ext cx="8814062" cy="395562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0000"/>
              <a:buFont typeface="Arial" panose="020B0604020202020204" pitchFamily="34" charset="0"/>
              <a:buNone/>
              <a:tabLst/>
              <a:defRPr sz="2400" b="0" i="0">
                <a:solidFill>
                  <a:srgbClr val="4E3629"/>
                </a:solidFill>
                <a:latin typeface="Oracle Sans" panose="020B0503020204020204" pitchFamily="34" charset="0"/>
                <a:ea typeface="Oracle Sans" panose="020B0503020204020204" pitchFamily="34" charset="0"/>
                <a:cs typeface="Oracle Sans" panose="020B0503020204020204" pitchFamily="34" charset="0"/>
              </a:defRPr>
            </a:lvl1pPr>
            <a:lvl2pPr marL="4572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Fiv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7138000-7156-634F-A6D0-6F76902523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62BB0-137B-434F-A197-25B5626B03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60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2.jpg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1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2.v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0E2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B8F01B-095E-4144-A3E4-C19FC4D525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51756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F6839A-7020-4254-BB27-017A0258D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4D97-2391-495E-8C13-180C0EB286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3B6C0B-A6D8-4755-9395-F94ECF5A049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46C395-84D2-B842-A7E3-2D0A40669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3600" y="6357600"/>
            <a:ext cx="3864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B8078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FF067D-4DD6-1945-911D-846CE543D5C2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3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19" r:id="rId2"/>
    <p:sldLayoutId id="2147483733" r:id="rId3"/>
    <p:sldLayoutId id="2147483721" r:id="rId4"/>
    <p:sldLayoutId id="2147483734" r:id="rId5"/>
    <p:sldLayoutId id="2147483756" r:id="rId6"/>
    <p:sldLayoutId id="2147483682" r:id="rId7"/>
    <p:sldLayoutId id="2147483678" r:id="rId8"/>
    <p:sldLayoutId id="2147483683" r:id="rId9"/>
    <p:sldLayoutId id="2147483693" r:id="rId10"/>
    <p:sldLayoutId id="2147483723" r:id="rId11"/>
    <p:sldLayoutId id="2147483724" r:id="rId12"/>
    <p:sldLayoutId id="2147483725" r:id="rId13"/>
    <p:sldLayoutId id="2147483726" r:id="rId14"/>
    <p:sldLayoutId id="2147483679" r:id="rId15"/>
    <p:sldLayoutId id="2147483727" r:id="rId16"/>
    <p:sldLayoutId id="2147483729" r:id="rId17"/>
    <p:sldLayoutId id="2147483730" r:id="rId18"/>
    <p:sldLayoutId id="2147483731" r:id="rId19"/>
    <p:sldLayoutId id="2147483732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eorgia" panose="02040502050405020303" pitchFamily="18" charset="0"/>
          <a:ea typeface="+mj-ea"/>
          <a:cs typeface="Oracle Sans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27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4D0E1-956D-DD49-8541-C2988CBC8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65434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F6839A-7020-4254-BB27-017A0258D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4D97-2391-495E-8C13-180C0EB286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3B6C0B-A6D8-4755-9395-F94ECF5A049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5400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446C395-84D2-B842-A7E3-2D0A406691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3600" y="6356350"/>
            <a:ext cx="3864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  <a:cs typeface="Oracle Sans" panose="020B0503020204020204" pitchFamily="34" charset="0"/>
              </a:defRPr>
            </a:lvl1pPr>
          </a:lstStyle>
          <a:p>
            <a:fld id="{7C371504-33D9-B044-8C50-620C44A06CB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BF6404-9E78-844F-B5FC-770CD9591C85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437197" y="6356350"/>
            <a:ext cx="501650" cy="50165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B168A7-4574-4FD8-965C-D37BC160E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1200" y="63576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486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57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Georgia" panose="02040502050405020303" pitchFamily="18" charset="0"/>
          <a:ea typeface="+mj-ea"/>
          <a:cs typeface="Oracle Sans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image" Target="../media/image59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tiff"/><Relationship Id="rId5" Type="http://schemas.openxmlformats.org/officeDocument/2006/relationships/image" Target="../media/image62.tiff"/><Relationship Id="rId4" Type="http://schemas.openxmlformats.org/officeDocument/2006/relationships/image" Target="../media/image61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data.swiss/" TargetMode="External"/><Relationship Id="rId7" Type="http://schemas.openxmlformats.org/officeDocument/2006/relationships/hyperlink" Target="https://ourworldindata.org/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5" Type="http://schemas.openxmlformats.org/officeDocument/2006/relationships/hyperlink" Target="https://storage.googleapis.com/openimages/web/index.html" TargetMode="External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hyperlink" Target="http://datastudio.oraclecorp.com/?root=notebooks&amp;notebook=dsq92eAj7Rz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129.146.180.78:32678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pgql-lang.org/spec/1.2/#introduction" TargetMode="External"/><Relationship Id="rId2" Type="http://schemas.openxmlformats.org/officeDocument/2006/relationships/hyperlink" Target="https://docs.oracle.com/cd/E56133_01/latest/index.html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abs.oracle.com/pls/apex/f?p=LABS:10" TargetMode="External"/><Relationship Id="rId5" Type="http://schemas.openxmlformats.org/officeDocument/2006/relationships/hyperlink" Target="https://www.zoo.ch/de/naturschutz-tiere/naturschutzprojekte/antarctic-research" TargetMode="External"/><Relationship Id="rId4" Type="http://schemas.openxmlformats.org/officeDocument/2006/relationships/hyperlink" Target="http://datastudio.oraclecorp.com/docs/apidoc/swagger-ui.html#/Notebooks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image" Target="../media/image78.png"/><Relationship Id="rId18" Type="http://schemas.openxmlformats.org/officeDocument/2006/relationships/image" Target="../media/image81.png"/><Relationship Id="rId3" Type="http://schemas.openxmlformats.org/officeDocument/2006/relationships/image" Target="../media/image73.png"/><Relationship Id="rId21" Type="http://schemas.openxmlformats.org/officeDocument/2006/relationships/image" Target="../media/image83.tiff"/><Relationship Id="rId7" Type="http://schemas.openxmlformats.org/officeDocument/2006/relationships/image" Target="../media/image75.png"/><Relationship Id="rId12" Type="http://schemas.microsoft.com/office/2007/relationships/hdphoto" Target="../media/hdphoto8.wdp"/><Relationship Id="rId17" Type="http://schemas.microsoft.com/office/2007/relationships/hdphoto" Target="../media/hdphoto10.wdp"/><Relationship Id="rId2" Type="http://schemas.openxmlformats.org/officeDocument/2006/relationships/image" Target="../media/image72.png"/><Relationship Id="rId16" Type="http://schemas.openxmlformats.org/officeDocument/2006/relationships/image" Target="../media/image80.png"/><Relationship Id="rId20" Type="http://schemas.microsoft.com/office/2007/relationships/hdphoto" Target="../media/hdphoto11.wdp"/><Relationship Id="rId1" Type="http://schemas.openxmlformats.org/officeDocument/2006/relationships/slideLayout" Target="../slideLayouts/slideLayout7.xml"/><Relationship Id="rId6" Type="http://schemas.microsoft.com/office/2007/relationships/hdphoto" Target="../media/hdphoto5.wdp"/><Relationship Id="rId11" Type="http://schemas.openxmlformats.org/officeDocument/2006/relationships/image" Target="../media/image77.png"/><Relationship Id="rId5" Type="http://schemas.openxmlformats.org/officeDocument/2006/relationships/image" Target="../media/image74.png"/><Relationship Id="rId15" Type="http://schemas.openxmlformats.org/officeDocument/2006/relationships/image" Target="../media/image79.png"/><Relationship Id="rId10" Type="http://schemas.microsoft.com/office/2007/relationships/hdphoto" Target="../media/hdphoto7.wdp"/><Relationship Id="rId19" Type="http://schemas.openxmlformats.org/officeDocument/2006/relationships/image" Target="../media/image82.png"/><Relationship Id="rId4" Type="http://schemas.microsoft.com/office/2007/relationships/hdphoto" Target="../media/hdphoto4.wdp"/><Relationship Id="rId9" Type="http://schemas.openxmlformats.org/officeDocument/2006/relationships/image" Target="../media/image76.png"/><Relationship Id="rId14" Type="http://schemas.microsoft.com/office/2007/relationships/hdphoto" Target="../media/hdphoto9.wdp"/><Relationship Id="rId22" Type="http://schemas.openxmlformats.org/officeDocument/2006/relationships/image" Target="../media/image8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1.xml"/><Relationship Id="rId7" Type="http://schemas.openxmlformats.org/officeDocument/2006/relationships/image" Target="../media/image2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16E094-5D59-2D41-9650-CC28191A64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629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6F31C4-DC92-7E48-BAB6-95E8584518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4B5E89-ABC3-7E45-9346-FF40C369D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r>
              <a:rPr lang="en-US" dirty="0"/>
              <a:t>Presenter’s Title</a:t>
            </a:r>
          </a:p>
          <a:p>
            <a:r>
              <a:rPr lang="en-US" dirty="0"/>
              <a:t>Organization, Division or Business Unit</a:t>
            </a:r>
          </a:p>
          <a:p>
            <a:r>
              <a:rPr lang="en-US" dirty="0"/>
              <a:t>Month 00, </a:t>
            </a:r>
            <a:r>
              <a:rPr lang="is-IS" dirty="0"/>
              <a:t>2019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F98A6F-1063-844D-8524-BF1656C74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slide with picture bor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BE6865-93D5-2148-984E-02DEC3861A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6CDC6D7-090C-A046-A4D5-879A01F3A1C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– © 2019 Oracle Internal/Restricted/Highly Restricte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C077218-773D-0B46-AF5F-D68AC32590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D15151D-D174-1E40-AC0C-B40BAB4462B2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4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885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4FB44-685C-F146-BC0F-E865124A2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 all human-</a:t>
            </a:r>
            <a:r>
              <a:rPr lang="de-DE" dirty="0" err="1"/>
              <a:t>induced</a:t>
            </a:r>
            <a:r>
              <a:rPr lang="de-DE" dirty="0"/>
              <a:t> </a:t>
            </a:r>
            <a:r>
              <a:rPr lang="de-DE" dirty="0" err="1"/>
              <a:t>threa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equal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E04A9C-5165-7345-8365-E6504130DB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096" y="2124521"/>
            <a:ext cx="9887835" cy="730064"/>
          </a:xfrm>
        </p:spPr>
        <p:txBody>
          <a:bodyPr/>
          <a:lstStyle/>
          <a:p>
            <a:pPr algn="ctr"/>
            <a:r>
              <a:rPr lang="de-DE" sz="1600" dirty="0" err="1"/>
              <a:t>Some</a:t>
            </a:r>
            <a:r>
              <a:rPr lang="de-DE" sz="1600" dirty="0"/>
              <a:t> </a:t>
            </a:r>
            <a:r>
              <a:rPr lang="de-DE" sz="1600" dirty="0" err="1"/>
              <a:t>pressures</a:t>
            </a:r>
            <a:r>
              <a:rPr lang="de-DE" sz="1600" dirty="0"/>
              <a:t> (such </a:t>
            </a:r>
            <a:r>
              <a:rPr lang="de-DE" sz="1600" dirty="0" err="1"/>
              <a:t>as</a:t>
            </a:r>
            <a:r>
              <a:rPr lang="de-DE" sz="1600" dirty="0"/>
              <a:t> </a:t>
            </a:r>
            <a:r>
              <a:rPr lang="de-DE" sz="1600" dirty="0" err="1"/>
              <a:t>climate</a:t>
            </a:r>
            <a:r>
              <a:rPr lang="de-DE" sz="1600" dirty="0"/>
              <a:t> </a:t>
            </a:r>
            <a:r>
              <a:rPr lang="de-DE" sz="1600" dirty="0" err="1"/>
              <a:t>change</a:t>
            </a:r>
            <a:r>
              <a:rPr lang="de-DE" sz="1600" dirty="0"/>
              <a:t>)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indirect</a:t>
            </a:r>
            <a:r>
              <a:rPr lang="de-DE" sz="1600" dirty="0"/>
              <a:t> </a:t>
            </a:r>
            <a:r>
              <a:rPr lang="de-DE" sz="1600" dirty="0" err="1"/>
              <a:t>or</a:t>
            </a:r>
            <a:r>
              <a:rPr lang="de-DE" sz="1600" dirty="0"/>
              <a:t> </a:t>
            </a:r>
            <a:r>
              <a:rPr lang="de-DE" sz="1600" dirty="0" err="1"/>
              <a:t>cascad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linked</a:t>
            </a:r>
            <a:r>
              <a:rPr lang="de-DE" sz="1600" dirty="0"/>
              <a:t> </a:t>
            </a:r>
            <a:r>
              <a:rPr lang="de-DE" sz="1600" dirty="0" err="1"/>
              <a:t>closely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other</a:t>
            </a:r>
            <a:r>
              <a:rPr lang="de-DE" sz="1600" dirty="0"/>
              <a:t> </a:t>
            </a:r>
            <a:r>
              <a:rPr lang="de-DE" sz="1600" dirty="0" err="1"/>
              <a:t>factors</a:t>
            </a:r>
            <a:endParaRPr lang="de-DE" sz="16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561FE7A-B210-CA47-A2BF-67EBE4F502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FA93301-1C8D-7B4D-B597-4AAAB5C4F0D0}"/>
              </a:ext>
            </a:extLst>
          </p:cNvPr>
          <p:cNvGrpSpPr/>
          <p:nvPr/>
        </p:nvGrpSpPr>
        <p:grpSpPr>
          <a:xfrm>
            <a:off x="1583524" y="2570687"/>
            <a:ext cx="8487755" cy="3513965"/>
            <a:chOff x="1235795" y="2363688"/>
            <a:chExt cx="8964370" cy="371128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20F5CB0-8C99-3B49-8F6B-AAFF9689EA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5795" y="2363688"/>
              <a:ext cx="8964370" cy="3711286"/>
            </a:xfrm>
            <a:prstGeom prst="rect">
              <a:avLst/>
            </a:prstGeom>
          </p:spPr>
        </p:pic>
        <p:sp>
          <p:nvSpPr>
            <p:cNvPr id="16" name="Rechteck: abgerundete Ecken 10">
              <a:extLst>
                <a:ext uri="{FF2B5EF4-FFF2-40B4-BE49-F238E27FC236}">
                  <a16:creationId xmlns:a16="http://schemas.microsoft.com/office/drawing/2014/main" id="{F068B63D-4AC9-9A46-924A-ECCAB3F1E57D}"/>
                </a:ext>
              </a:extLst>
            </p:cNvPr>
            <p:cNvSpPr/>
            <p:nvPr/>
          </p:nvSpPr>
          <p:spPr>
            <a:xfrm>
              <a:off x="6488092" y="2553542"/>
              <a:ext cx="483826" cy="434160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17" name="Rechteck: abgerundete Ecken 11">
              <a:extLst>
                <a:ext uri="{FF2B5EF4-FFF2-40B4-BE49-F238E27FC236}">
                  <a16:creationId xmlns:a16="http://schemas.microsoft.com/office/drawing/2014/main" id="{94BBFFDA-B145-0D4E-8433-A8A1B1FE45AC}"/>
                </a:ext>
              </a:extLst>
            </p:cNvPr>
            <p:cNvSpPr/>
            <p:nvPr/>
          </p:nvSpPr>
          <p:spPr>
            <a:xfrm>
              <a:off x="2436792" y="5144156"/>
              <a:ext cx="7403373" cy="105590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18" name="Rechteck: abgerundete Ecken 12">
              <a:extLst>
                <a:ext uri="{FF2B5EF4-FFF2-40B4-BE49-F238E27FC236}">
                  <a16:creationId xmlns:a16="http://schemas.microsoft.com/office/drawing/2014/main" id="{9DCC0EE9-329B-7D45-9CBA-5768AA3D7CD0}"/>
                </a:ext>
              </a:extLst>
            </p:cNvPr>
            <p:cNvSpPr/>
            <p:nvPr/>
          </p:nvSpPr>
          <p:spPr>
            <a:xfrm>
              <a:off x="5234153" y="2553542"/>
              <a:ext cx="664613" cy="434160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19" name="Rechteck: abgerundete Ecken 13">
              <a:extLst>
                <a:ext uri="{FF2B5EF4-FFF2-40B4-BE49-F238E27FC236}">
                  <a16:creationId xmlns:a16="http://schemas.microsoft.com/office/drawing/2014/main" id="{A805BBDE-FA62-EB4A-9B88-9702E7056673}"/>
                </a:ext>
              </a:extLst>
            </p:cNvPr>
            <p:cNvSpPr/>
            <p:nvPr/>
          </p:nvSpPr>
          <p:spPr>
            <a:xfrm>
              <a:off x="8344129" y="2579128"/>
              <a:ext cx="483826" cy="434160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20" name="Rechteck: abgerundete Ecken 14">
              <a:extLst>
                <a:ext uri="{FF2B5EF4-FFF2-40B4-BE49-F238E27FC236}">
                  <a16:creationId xmlns:a16="http://schemas.microsoft.com/office/drawing/2014/main" id="{2C827649-E2DB-E849-B754-91A450E3A96F}"/>
                </a:ext>
              </a:extLst>
            </p:cNvPr>
            <p:cNvSpPr/>
            <p:nvPr/>
          </p:nvSpPr>
          <p:spPr>
            <a:xfrm>
              <a:off x="2436792" y="3151280"/>
              <a:ext cx="7403373" cy="138676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21" name="Rechteck: abgerundete Ecken 15">
              <a:extLst>
                <a:ext uri="{FF2B5EF4-FFF2-40B4-BE49-F238E27FC236}">
                  <a16:creationId xmlns:a16="http://schemas.microsoft.com/office/drawing/2014/main" id="{0453ADD4-62E0-D44C-ACE1-A46A5CC8A635}"/>
                </a:ext>
              </a:extLst>
            </p:cNvPr>
            <p:cNvSpPr/>
            <p:nvPr/>
          </p:nvSpPr>
          <p:spPr>
            <a:xfrm>
              <a:off x="2436791" y="3304342"/>
              <a:ext cx="7403373" cy="105590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22" name="Rechteck: abgerundete Ecken 16">
              <a:extLst>
                <a:ext uri="{FF2B5EF4-FFF2-40B4-BE49-F238E27FC236}">
                  <a16:creationId xmlns:a16="http://schemas.microsoft.com/office/drawing/2014/main" id="{F601DD80-7E7F-DE41-809B-C2321F5FA4FB}"/>
                </a:ext>
              </a:extLst>
            </p:cNvPr>
            <p:cNvSpPr/>
            <p:nvPr/>
          </p:nvSpPr>
          <p:spPr>
            <a:xfrm>
              <a:off x="2436791" y="3409932"/>
              <a:ext cx="7403373" cy="137992"/>
            </a:xfrm>
            <a:prstGeom prst="roundRect">
              <a:avLst/>
            </a:prstGeom>
            <a:noFill/>
            <a:ln w="19050">
              <a:solidFill>
                <a:srgbClr val="F8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9511FB5E-3994-154C-B1A4-7F3711BF7784}"/>
              </a:ext>
            </a:extLst>
          </p:cNvPr>
          <p:cNvSpPr/>
          <p:nvPr/>
        </p:nvSpPr>
        <p:spPr>
          <a:xfrm>
            <a:off x="2247820" y="6125321"/>
            <a:ext cx="8964370" cy="2462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900" b="1" dirty="0">
                <a:latin typeface="Oracle Sans" panose="020B0503020204020204" pitchFamily="34" charset="0"/>
                <a:cs typeface="Oracle Sans" panose="020B0503020204020204" pitchFamily="34" charset="0"/>
              </a:rPr>
              <a:t>Source: </a:t>
            </a:r>
            <a:r>
              <a:rPr lang="en-US" sz="9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Trathan</a:t>
            </a:r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, Phil N., et al. "Pollution, habitat loss, fishing, and climate change as critical threats to penguins." </a:t>
            </a:r>
            <a:r>
              <a:rPr lang="en-US" sz="900" i="1" dirty="0">
                <a:latin typeface="Oracle Sans" panose="020B0503020204020204" pitchFamily="34" charset="0"/>
                <a:cs typeface="Oracle Sans" panose="020B0503020204020204" pitchFamily="34" charset="0"/>
              </a:rPr>
              <a:t>Conservation Biology </a:t>
            </a:r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29.1 (2015): 31-41.</a:t>
            </a:r>
          </a:p>
        </p:txBody>
      </p:sp>
    </p:spTree>
    <p:extLst>
      <p:ext uri="{BB962C8B-B14F-4D97-AF65-F5344CB8AC3E}">
        <p14:creationId xmlns:p14="http://schemas.microsoft.com/office/powerpoint/2010/main" val="297762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EE5093-B09B-FC47-AA72-99FC40AA0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earch </a:t>
            </a:r>
            <a:r>
              <a:rPr lang="de-DE" dirty="0" err="1"/>
              <a:t>helps</a:t>
            </a:r>
            <a:r>
              <a:rPr lang="de-DE" dirty="0"/>
              <a:t> </a:t>
            </a:r>
            <a:r>
              <a:rPr lang="de-DE" dirty="0" err="1"/>
              <a:t>us</a:t>
            </a:r>
            <a:r>
              <a:rPr lang="de-DE" dirty="0"/>
              <a:t> </a:t>
            </a:r>
            <a:r>
              <a:rPr lang="de-DE" dirty="0" err="1"/>
              <a:t>disentang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lex</a:t>
            </a:r>
            <a:r>
              <a:rPr lang="de-DE" dirty="0"/>
              <a:t> web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ritical</a:t>
            </a:r>
            <a:r>
              <a:rPr lang="de-DE" dirty="0"/>
              <a:t> </a:t>
            </a:r>
            <a:r>
              <a:rPr lang="de-DE" dirty="0" err="1"/>
              <a:t>threat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E29CFC-298B-E240-ADFD-1E9C94B5DB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C701BF2-36BD-2A47-BDB9-C99DC91C0E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238" y="2005661"/>
            <a:ext cx="3497156" cy="1723236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9D88E08-D4AE-F54C-951E-D0FABC78F5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07" b="9938"/>
          <a:stretch/>
        </p:blipFill>
        <p:spPr>
          <a:xfrm>
            <a:off x="6356733" y="1889803"/>
            <a:ext cx="3990705" cy="1954951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F2A651F-97E9-DE40-A9A7-5C23324D72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8676" y="2403161"/>
            <a:ext cx="4526673" cy="144159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67F9765-EE9C-F94C-9E94-BD0172ED1A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00" t="-1" b="-1573"/>
          <a:stretch/>
        </p:blipFill>
        <p:spPr>
          <a:xfrm>
            <a:off x="331570" y="3400389"/>
            <a:ext cx="4451319" cy="214991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5772C14-A9D5-144C-BB57-9DE70A7E2B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2611" y="4410880"/>
            <a:ext cx="3229567" cy="1829613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0FFD8BA-D861-844E-AF98-D7719554D4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51459" y="3123957"/>
            <a:ext cx="4410547" cy="2027559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BB5B1F-39D5-F440-AB45-290E84D8DE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5677" y="4581106"/>
            <a:ext cx="3719052" cy="168611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9B082F4-8C39-4742-A3C8-24CEF03DD9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17335" y="2725172"/>
            <a:ext cx="3296427" cy="20082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4D8523B-90C0-8640-91B1-7B61E2F56B0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28018" y="4358112"/>
            <a:ext cx="3583902" cy="2054530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277333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0A93E6-9701-B344-BA51-9CA0468B3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role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Zoo Zürich </a:t>
            </a:r>
            <a:r>
              <a:rPr lang="de-DE" dirty="0" err="1"/>
              <a:t>pla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av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nguins</a:t>
            </a:r>
            <a:r>
              <a:rPr lang="de-DE" dirty="0"/>
              <a:t>?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A74DB5-A439-8A4D-908C-FFB7828565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5CDAECD-3FC4-284C-A756-E695AC9B4DC9}"/>
              </a:ext>
            </a:extLst>
          </p:cNvPr>
          <p:cNvSpPr/>
          <p:nvPr/>
        </p:nvSpPr>
        <p:spPr>
          <a:xfrm>
            <a:off x="768096" y="1991180"/>
            <a:ext cx="4665206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A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colony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of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22 King Penguins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are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ambassdors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to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their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counterparts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in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the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sub-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Antartic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wild –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they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fascinated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1.2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million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visitors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last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year</a:t>
            </a:r>
            <a:endParaRPr lang="de-DE" sz="14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endParaRPr lang="en-US" sz="1600" dirty="0"/>
          </a:p>
        </p:txBody>
      </p:sp>
      <p:pic>
        <p:nvPicPr>
          <p:cNvPr id="7" name="Picture 2" descr="Bildergebnis fÃ¼r king penguins zoo zÃ¼rich">
            <a:extLst>
              <a:ext uri="{FF2B5EF4-FFF2-40B4-BE49-F238E27FC236}">
                <a16:creationId xmlns:a16="http://schemas.microsoft.com/office/drawing/2014/main" id="{0BA275D1-6BEA-6344-B6C8-736BCC219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353" y="2863794"/>
            <a:ext cx="3715769" cy="20901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0AD7D05-5D8C-B74D-A2BC-A959C251ADD7}"/>
              </a:ext>
            </a:extLst>
          </p:cNvPr>
          <p:cNvSpPr/>
          <p:nvPr/>
        </p:nvSpPr>
        <p:spPr>
          <a:xfrm>
            <a:off x="6387920" y="1991180"/>
            <a:ext cx="43581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We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collaborate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with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in-situ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research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and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collaboration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with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Antarctic</a:t>
            </a:r>
            <a:r>
              <a:rPr lang="de-DE" sz="1400" dirty="0">
                <a:latin typeface="Oracle Sans" panose="020B0503020204020204" pitchFamily="34" charset="0"/>
                <a:cs typeface="Oracle Sans" panose="020B0503020204020204" pitchFamily="34" charset="0"/>
              </a:rPr>
              <a:t> Research Trust (ART)</a:t>
            </a:r>
            <a:endParaRPr lang="en-US" sz="1400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9" name="Picture 2" descr="Antarctic Research Trust">
            <a:extLst>
              <a:ext uri="{FF2B5EF4-FFF2-40B4-BE49-F238E27FC236}">
                <a16:creationId xmlns:a16="http://schemas.microsoft.com/office/drawing/2014/main" id="{7758F8DC-590E-1B41-8EAF-7CA9E66B3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061" y="2878459"/>
            <a:ext cx="3135272" cy="20901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FD3DF858-26CD-ED4D-9E30-9A9AE0A169C2}"/>
              </a:ext>
            </a:extLst>
          </p:cNvPr>
          <p:cNvSpPr txBox="1">
            <a:spLocks/>
          </p:cNvSpPr>
          <p:nvPr/>
        </p:nvSpPr>
        <p:spPr bwMode="gray">
          <a:xfrm>
            <a:off x="768096" y="5203717"/>
            <a:ext cx="10423645" cy="9890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2pPr>
            <a:lvl3pPr mar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3pPr>
            <a:lvl4pPr marL="4114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–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4pPr>
            <a:lvl5pPr marL="59436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tx1"/>
              </a:buClr>
              <a:buFont typeface="Wingdings" pitchFamily="2" charset="2"/>
              <a:buChar char="§"/>
            </a:pP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We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artner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with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ART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o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better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understand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eeding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and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nesting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istribution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atterns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in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der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o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make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vidence-based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ecisions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or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dentifying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ritical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rounds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o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protect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</a:t>
            </a:r>
            <a:r>
              <a:rPr lang="de-DE" sz="14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</a:t>
            </a:r>
            <a:r>
              <a:rPr lang="de-DE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restore</a:t>
            </a:r>
          </a:p>
          <a:p>
            <a:pPr marL="342900" indent="-34290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GPS loggers are fitted to various species including rockhopper, Magellan penguins, King and Gentoo penguins to learn more about how far animals have to swim  to forage</a:t>
            </a:r>
            <a:endParaRPr lang="de-DE" sz="2000" dirty="0"/>
          </a:p>
          <a:p>
            <a:endParaRPr lang="de-DE" sz="2000" dirty="0"/>
          </a:p>
          <a:p>
            <a:r>
              <a:rPr lang="de-DE" sz="14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4811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58C0C9-E5A2-2F47-9CC0-40066056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65AF7F0-3C4A-584D-A3A4-8F85E38C6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6328" y="1627121"/>
            <a:ext cx="5223934" cy="3073531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F46F688D-0DD4-E14A-8BB2-FDCBDA727368}"/>
              </a:ext>
            </a:extLst>
          </p:cNvPr>
          <p:cNvSpPr/>
          <p:nvPr/>
        </p:nvSpPr>
        <p:spPr>
          <a:xfrm>
            <a:off x="768096" y="2123259"/>
            <a:ext cx="50582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600" dirty="0"/>
              <a:t>Warmer waters, heat waves, lead to climate-forcing shifts in foraging and nesting requirements:</a:t>
            </a:r>
          </a:p>
          <a:p>
            <a:pPr fontAlgn="base"/>
            <a:endParaRPr lang="en-US" sz="1600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King Penguins swim further to find sufficient prey</a:t>
            </a:r>
            <a:br>
              <a:rPr lang="en-US" sz="1600" dirty="0"/>
            </a:br>
            <a:r>
              <a:rPr lang="en-US" sz="800" dirty="0"/>
              <a:t>(</a:t>
            </a:r>
            <a:r>
              <a:rPr lang="en-US" sz="800" dirty="0" err="1"/>
              <a:t>Cristofari</a:t>
            </a:r>
            <a:r>
              <a:rPr lang="en-US" sz="800" dirty="0"/>
              <a:t>, 2018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Underfed Rockhopper adults returning from foraging grounds led to underfed chicks</a:t>
            </a:r>
            <a:br>
              <a:rPr lang="en-US" sz="1600" dirty="0"/>
            </a:br>
            <a:r>
              <a:rPr lang="en-US" sz="800" dirty="0"/>
              <a:t>(Crawford </a:t>
            </a:r>
            <a:r>
              <a:rPr lang="en-US" sz="800" i="1" dirty="0"/>
              <a:t>et al., </a:t>
            </a:r>
            <a:r>
              <a:rPr lang="en-US" sz="800" dirty="0"/>
              <a:t>2008) </a:t>
            </a:r>
          </a:p>
          <a:p>
            <a:endParaRPr lang="en-US" sz="16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99D4A93-E7D7-694E-B63B-5BE9045AB5E8}"/>
              </a:ext>
            </a:extLst>
          </p:cNvPr>
          <p:cNvSpPr/>
          <p:nvPr/>
        </p:nvSpPr>
        <p:spPr>
          <a:xfrm>
            <a:off x="5826328" y="4740523"/>
            <a:ext cx="522393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latin typeface="Oracle Sans" panose="020B0503020204020204" pitchFamily="34" charset="0"/>
                <a:cs typeface="Oracle Sans" panose="020B0503020204020204" pitchFamily="34" charset="0"/>
              </a:rPr>
              <a:t>Sea Surface Temperature Is Rising Globally</a:t>
            </a:r>
          </a:p>
          <a:p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Ocean surface temperatures have risen each decade by 0.13°F on average since 1900. </a:t>
            </a:r>
            <a:r>
              <a:rPr lang="en-US" sz="900" i="1" dirty="0">
                <a:latin typeface="Oracle Sans" panose="020B0503020204020204" pitchFamily="34" charset="0"/>
                <a:cs typeface="Oracle Sans" panose="020B0503020204020204" pitchFamily="34" charset="0"/>
              </a:rPr>
              <a:t>Source: EPA, Credit: Thomas Wilburn/NPR</a:t>
            </a:r>
          </a:p>
          <a:p>
            <a:endParaRPr lang="en-US" sz="900" i="1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Citations: RJM Crawford, AB </a:t>
            </a:r>
            <a:r>
              <a:rPr lang="en-US" sz="9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Makhado</a:t>
            </a:r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, L Upfold &amp; BM Dyer (2008) Mass on arrival of rockhopper penguins at Marion Island correlated with breeding success, African Journal of Marine Science, 30:1, 185-188, DOI: 10.2989/AJMS.2008.30.1.19.469</a:t>
            </a:r>
          </a:p>
          <a:p>
            <a:endParaRPr lang="en-US" sz="9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r>
              <a:rPr lang="en-US" sz="900" dirty="0" err="1">
                <a:latin typeface="Oracle Sans" panose="020B0503020204020204" pitchFamily="34" charset="0"/>
                <a:cs typeface="Oracle Sans" panose="020B0503020204020204" pitchFamily="34" charset="0"/>
              </a:rPr>
              <a:t>Cristofari</a:t>
            </a:r>
            <a:r>
              <a:rPr lang="en-US" sz="900" dirty="0">
                <a:latin typeface="Oracle Sans" panose="020B0503020204020204" pitchFamily="34" charset="0"/>
                <a:cs typeface="Oracle Sans" panose="020B0503020204020204" pitchFamily="34" charset="0"/>
              </a:rPr>
              <a:t>, Robin, et al. "Climate-driven range shifts of the king penguin in a fragmented ecosystem." Nature Climate Change 8.3 (2018): 245.</a:t>
            </a:r>
          </a:p>
          <a:p>
            <a:endParaRPr lang="en-US" sz="900" i="1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E9484A5-8407-4FD2-B430-DC92DC092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Threat</a:t>
            </a:r>
            <a:r>
              <a:rPr lang="de-CH" dirty="0"/>
              <a:t>: a </a:t>
            </a:r>
            <a:r>
              <a:rPr lang="de-CH" dirty="0" err="1"/>
              <a:t>warming</a:t>
            </a:r>
            <a:r>
              <a:rPr lang="de-CH" dirty="0"/>
              <a:t> </a:t>
            </a:r>
            <a:r>
              <a:rPr lang="de-CH" dirty="0" err="1"/>
              <a:t>clim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950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87025D-83F5-5B4E-84C2-D38E7D0D1F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050B9F-0FAA-E44B-9221-679EBE5CA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7900" y="4442275"/>
            <a:ext cx="2459216" cy="164060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40C6AFF-F575-0841-9360-6F16921D0903}"/>
              </a:ext>
            </a:extLst>
          </p:cNvPr>
          <p:cNvSpPr/>
          <p:nvPr/>
        </p:nvSpPr>
        <p:spPr>
          <a:xfrm>
            <a:off x="768096" y="2123259"/>
            <a:ext cx="1047902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/>
              <a:t>There is  an inverse impact on  population trends for Gentoo (increasing) vs. most other Antarctic-distributed penguin species (King penguins, Chinstrap, </a:t>
            </a:r>
            <a:r>
              <a:rPr lang="en-US" dirty="0" err="1"/>
              <a:t>Adelie</a:t>
            </a:r>
            <a:r>
              <a:rPr lang="en-US" dirty="0"/>
              <a:t>, King and Emperor)  in response to climate variation. </a:t>
            </a:r>
            <a:r>
              <a:rPr lang="en-US" sz="900" dirty="0"/>
              <a:t>Special Report on the Ocean and Cryosphere in a Changing Climate. Chapter:3 Polar Regions. September 2019</a:t>
            </a:r>
          </a:p>
          <a:p>
            <a:pPr marL="285750" indent="-285750" fontAlgn="base">
              <a:buFontTx/>
              <a:buChar char="-"/>
            </a:pPr>
            <a:endParaRPr lang="en-US" dirty="0"/>
          </a:p>
          <a:p>
            <a:pPr marL="285750" indent="-285750" fontAlgn="base">
              <a:buFont typeface="Wingdings" pitchFamily="2" charset="2"/>
              <a:buChar char="§"/>
            </a:pPr>
            <a:r>
              <a:rPr lang="en-US" dirty="0"/>
              <a:t>Penguins need to balance change shifting ice conditions and a reduce prey availability </a:t>
            </a:r>
          </a:p>
          <a:p>
            <a:pPr marL="285750" indent="-285750" fontAlgn="base">
              <a:buFont typeface="Wingdings" pitchFamily="2" charset="2"/>
              <a:buChar char="§"/>
            </a:pPr>
            <a:endParaRPr lang="en-US" dirty="0"/>
          </a:p>
          <a:p>
            <a:pPr marL="285750" indent="-285750" fontAlgn="base">
              <a:buFont typeface="Wingdings" pitchFamily="2" charset="2"/>
              <a:buChar char="§"/>
            </a:pPr>
            <a:r>
              <a:rPr lang="en-US" dirty="0"/>
              <a:t>Storms and rain was the most common cause in the 50% of 3,500 Magellan penguin chicks followed for 25 years </a:t>
            </a:r>
            <a:r>
              <a:rPr lang="en-US" sz="900" dirty="0"/>
              <a:t>(Boersma et al., 2014)</a:t>
            </a:r>
          </a:p>
          <a:p>
            <a:pPr marL="285750" indent="-285750" fontAlgn="base">
              <a:buFontTx/>
              <a:buChar char="-"/>
            </a:pPr>
            <a:endParaRPr lang="en-US" dirty="0"/>
          </a:p>
          <a:p>
            <a:pPr marL="285750" indent="-285750" fontAlgn="base">
              <a:buFontTx/>
              <a:buChar char="-"/>
            </a:pPr>
            <a:endParaRPr lang="en-US" dirty="0"/>
          </a:p>
          <a:p>
            <a:pPr marL="285750" indent="-285750" fontAlgn="base">
              <a:buFontTx/>
              <a:buChar char="-"/>
            </a:pP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36C83302-E29F-47FE-A281-FF18556C7871}"/>
              </a:ext>
            </a:extLst>
          </p:cNvPr>
          <p:cNvSpPr txBox="1">
            <a:spLocks/>
          </p:cNvSpPr>
          <p:nvPr/>
        </p:nvSpPr>
        <p:spPr>
          <a:xfrm>
            <a:off x="768096" y="783026"/>
            <a:ext cx="9887834" cy="844095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r>
              <a:rPr lang="en-US" dirty="0"/>
              <a:t>Threat: climate-variation:</a:t>
            </a:r>
            <a:br>
              <a:rPr lang="en-US" dirty="0"/>
            </a:br>
            <a:r>
              <a:rPr lang="en-US" dirty="0"/>
              <a:t> has a different impact on each species!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862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29DA72-B99E-034F-905D-9AE32132B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reat</a:t>
            </a:r>
            <a:r>
              <a:rPr lang="de-DE" dirty="0"/>
              <a:t>: </a:t>
            </a:r>
            <a:r>
              <a:rPr lang="de-DE" dirty="0" err="1"/>
              <a:t>overfishing</a:t>
            </a:r>
            <a:r>
              <a:rPr lang="de-DE" dirty="0"/>
              <a:t> &amp; </a:t>
            </a:r>
            <a:r>
              <a:rPr lang="de-DE" dirty="0" err="1"/>
              <a:t>harvestin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DC920D-0987-6346-B0D5-EAAB6F428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2ED88EE-1E3B-1444-90E8-55B166AC5878}"/>
              </a:ext>
            </a:extLst>
          </p:cNvPr>
          <p:cNvSpPr txBox="1">
            <a:spLocks/>
          </p:cNvSpPr>
          <p:nvPr/>
        </p:nvSpPr>
        <p:spPr>
          <a:xfrm>
            <a:off x="633601" y="2097087"/>
            <a:ext cx="6056096" cy="12062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Ice-loving </a:t>
            </a:r>
            <a:r>
              <a:rPr lang="en-US" sz="1800" b="1" dirty="0" err="1"/>
              <a:t>Adélie</a:t>
            </a:r>
            <a:r>
              <a:rPr lang="en-US" sz="1800" b="1" dirty="0"/>
              <a:t> and ice-avoiding chinstrap penguins have declined significantly, likely due to prey abundance</a:t>
            </a:r>
            <a:br>
              <a:rPr lang="en-US" sz="1800" b="1" dirty="0"/>
            </a:br>
            <a:r>
              <a:rPr lang="en-US" sz="900" b="1" dirty="0"/>
              <a:t>(</a:t>
            </a:r>
            <a:r>
              <a:rPr lang="en-US" sz="900" b="1" dirty="0" err="1"/>
              <a:t>Trivelpiece</a:t>
            </a:r>
            <a:r>
              <a:rPr lang="en-US" sz="900" b="1" dirty="0"/>
              <a:t>, et al., 2011)</a:t>
            </a:r>
          </a:p>
          <a:p>
            <a:endParaRPr lang="de-DE" sz="1800" b="1" dirty="0">
              <a:solidFill>
                <a:srgbClr val="4E5052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F98F59-58B2-6945-8CD7-5A5E15FD0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5215" y="1382296"/>
            <a:ext cx="3247553" cy="21235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9C3E37F-324C-8543-910D-D831C87FFD77}"/>
              </a:ext>
            </a:extLst>
          </p:cNvPr>
          <p:cNvGrpSpPr/>
          <p:nvPr/>
        </p:nvGrpSpPr>
        <p:grpSpPr>
          <a:xfrm>
            <a:off x="6430479" y="3802932"/>
            <a:ext cx="4519755" cy="2553418"/>
            <a:chOff x="7129187" y="281851"/>
            <a:chExt cx="4519755" cy="2553418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C944C513-3489-9446-8ACF-451FDEB9D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29187" y="281851"/>
              <a:ext cx="4447890" cy="255341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33084AA-0D26-3246-8379-3EC7332BF3B6}"/>
                </a:ext>
              </a:extLst>
            </p:cNvPr>
            <p:cNvSpPr/>
            <p:nvPr/>
          </p:nvSpPr>
          <p:spPr>
            <a:xfrm>
              <a:off x="8177498" y="1863546"/>
              <a:ext cx="347144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/>
                <a:t>Schematic of ecosystem perturbances on Chinstrap and </a:t>
              </a:r>
              <a:r>
                <a:rPr lang="en-US" sz="900" dirty="0" err="1"/>
                <a:t>Adelie</a:t>
              </a:r>
              <a:r>
                <a:rPr lang="en-US" sz="900" dirty="0"/>
                <a:t> penguin populations  (</a:t>
              </a:r>
              <a:r>
                <a:rPr lang="en-US" sz="900" dirty="0" err="1"/>
                <a:t>Trivelpiece</a:t>
              </a:r>
              <a:r>
                <a:rPr lang="en-US" sz="900" dirty="0"/>
                <a:t> et al., 2011)</a:t>
              </a:r>
            </a:p>
          </p:txBody>
        </p:sp>
      </p:grpSp>
      <p:pic>
        <p:nvPicPr>
          <p:cNvPr id="12" name="Grafik 11">
            <a:extLst>
              <a:ext uri="{FF2B5EF4-FFF2-40B4-BE49-F238E27FC236}">
                <a16:creationId xmlns:a16="http://schemas.microsoft.com/office/drawing/2014/main" id="{4EAECD06-7009-D14C-93AF-F7D9A46F1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2103" y="3157462"/>
            <a:ext cx="2999088" cy="17994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D63276B7-D38A-E949-A7FA-7CF2A9799A47}"/>
              </a:ext>
            </a:extLst>
          </p:cNvPr>
          <p:cNvSpPr/>
          <p:nvPr/>
        </p:nvSpPr>
        <p:spPr>
          <a:xfrm>
            <a:off x="1359760" y="5075786"/>
            <a:ext cx="31196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Krill ( </a:t>
            </a:r>
            <a:r>
              <a:rPr lang="en-US" sz="900" i="1" dirty="0" err="1"/>
              <a:t>Euphausia</a:t>
            </a:r>
            <a:r>
              <a:rPr lang="en-US" sz="900" i="1" dirty="0"/>
              <a:t> </a:t>
            </a:r>
            <a:r>
              <a:rPr lang="en-US" sz="900" i="1" dirty="0" err="1"/>
              <a:t>superba</a:t>
            </a:r>
            <a:r>
              <a:rPr lang="en-US" sz="900" dirty="0"/>
              <a:t>) represent a critical component of the Antarctic food web. Photograph: Christian </a:t>
            </a:r>
            <a:r>
              <a:rPr lang="en-US" sz="900" dirty="0" err="1"/>
              <a:t>Åslund</a:t>
            </a:r>
            <a:r>
              <a:rPr lang="en-US" sz="900" dirty="0"/>
              <a:t>/Greenpeace</a:t>
            </a:r>
          </a:p>
          <a:p>
            <a:endParaRPr lang="en-US" sz="900" dirty="0"/>
          </a:p>
          <a:p>
            <a:r>
              <a:rPr lang="en-US" sz="900" dirty="0"/>
              <a:t>Source: https://</a:t>
            </a:r>
            <a:r>
              <a:rPr lang="en-US" sz="900" dirty="0" err="1"/>
              <a:t>www.theguardian.com</a:t>
            </a:r>
            <a:r>
              <a:rPr lang="en-US" sz="900" dirty="0"/>
              <a:t>/environment/2018/</a:t>
            </a:r>
            <a:r>
              <a:rPr lang="en-US" sz="900" dirty="0" err="1"/>
              <a:t>feb</a:t>
            </a:r>
            <a:r>
              <a:rPr lang="en-US" sz="900" dirty="0"/>
              <a:t>/14/decline-in-krill-threatens-antarctic-wildlife-from-whales-to-penguins</a:t>
            </a:r>
          </a:p>
        </p:txBody>
      </p:sp>
    </p:spTree>
    <p:extLst>
      <p:ext uri="{BB962C8B-B14F-4D97-AF65-F5344CB8AC3E}">
        <p14:creationId xmlns:p14="http://schemas.microsoft.com/office/powerpoint/2010/main" val="277647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00B618-CB89-B04E-96B2-17C4D6CDF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will YOU </a:t>
            </a:r>
            <a:r>
              <a:rPr lang="de-DE" dirty="0" err="1"/>
              <a:t>help</a:t>
            </a:r>
            <a:r>
              <a:rPr lang="de-DE" dirty="0"/>
              <a:t>  sav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nguin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marching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</a:t>
            </a:r>
            <a:r>
              <a:rPr lang="de-DE" dirty="0" err="1"/>
              <a:t>extinction</a:t>
            </a:r>
            <a:r>
              <a:rPr lang="de-DE" dirty="0"/>
              <a:t>?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4309A2-7C51-9244-A1A5-6CA3FDBC33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4" descr="Image result for footprint antarctica">
            <a:extLst>
              <a:ext uri="{FF2B5EF4-FFF2-40B4-BE49-F238E27FC236}">
                <a16:creationId xmlns:a16="http://schemas.microsoft.com/office/drawing/2014/main" id="{53466318-329F-A840-9200-87FCE645B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761" y="4155339"/>
            <a:ext cx="3066800" cy="203055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95BF51-BCB2-3A4F-B20B-2E6C7E696E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5014" y="3603408"/>
            <a:ext cx="3903717" cy="258248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AB5BF3E-2171-1445-9AFB-1F8F1FA9CB8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2077"/>
          <a:stretch/>
        </p:blipFill>
        <p:spPr>
          <a:xfrm>
            <a:off x="7975014" y="2128406"/>
            <a:ext cx="3903717" cy="2026934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670F6111-2704-104F-9BB0-286CA96FE09E}"/>
              </a:ext>
            </a:extLst>
          </p:cNvPr>
          <p:cNvSpPr/>
          <p:nvPr/>
        </p:nvSpPr>
        <p:spPr>
          <a:xfrm>
            <a:off x="633600" y="1503472"/>
            <a:ext cx="460112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DE" sz="2000" b="1" dirty="0">
              <a:solidFill>
                <a:schemeClr val="tx1">
                  <a:lumMod val="5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Implementing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ech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(GPS,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satellit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imagery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, RFIDs)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inform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intervention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prevent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h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plight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f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penguins</a:t>
            </a:r>
            <a:endParaRPr lang="de-DE" sz="2000" b="1" dirty="0">
              <a:solidFill>
                <a:schemeClr val="tx1">
                  <a:lumMod val="50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sz="2000" b="1" dirty="0">
              <a:solidFill>
                <a:schemeClr val="tx1">
                  <a:lumMod val="5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What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creativ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way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can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you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com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up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with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reach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out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ther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rais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awarenes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f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ur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own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footprint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? </a:t>
            </a:r>
          </a:p>
          <a:p>
            <a:pPr marL="342900" indent="-342900">
              <a:buFontTx/>
              <a:buChar char="-"/>
            </a:pPr>
            <a:endParaRPr lang="de-DE" sz="2000" b="1" dirty="0">
              <a:solidFill>
                <a:schemeClr val="tx1">
                  <a:lumMod val="5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How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can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w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mak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a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differenc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tackle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reduction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f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habitat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degradation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,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pollution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,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overfishing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, and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warming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tx1">
                    <a:lumMod val="50000"/>
                  </a:schemeClr>
                </a:solidFill>
              </a:rPr>
              <a:t>seas</a:t>
            </a:r>
            <a:r>
              <a:rPr lang="de-DE" sz="2000" b="1" dirty="0">
                <a:solidFill>
                  <a:schemeClr val="tx1">
                    <a:lumMod val="50000"/>
                  </a:schemeClr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19040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A9B17FE-6A00-8A49-825C-B37C42A91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A9B17FE-6A00-8A49-825C-B37C42A91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BBC6A64A-5A9E-5C46-87B9-719B77A3F9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0D3AEF-CB7E-7F45-8FB2-B74A50EA11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ituation of the pengui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F08097-C8AC-4C49-81E0-E3CD1AD56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AA26AD-60B2-0C4B-B406-28961F4E4E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3D1CD-AF6F-AB41-A248-F132F08A2B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309067-4E8F-E243-81FC-305E54A19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8FF45F-1146-4C49-ACBB-12902DF36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2C68B2-2A22-6842-AFF5-B86DD32DA028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/>
              <a:t>Challenge in detai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D5F1C4-4E16-A64E-B002-0F24E841636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Data sourc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CF77E92-6B2E-9F46-A561-D71CB6740DDD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racle Labs Data Studio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C59AC5E-ABFB-4047-BBA0-1BC6250E70E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76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B3A737-FFC1-6341-BD06-3E39DA6BA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 in Detai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AC29CE-42E0-304C-803C-B174E624AC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F5B8541-0A98-ED4A-8902-EDA7DF395C33}"/>
              </a:ext>
            </a:extLst>
          </p:cNvPr>
          <p:cNvSpPr/>
          <p:nvPr/>
        </p:nvSpPr>
        <p:spPr>
          <a:xfrm>
            <a:off x="1664104" y="2807589"/>
            <a:ext cx="1609344" cy="58305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pp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60CFBF2-403E-814E-B7AC-708B8691221D}"/>
              </a:ext>
            </a:extLst>
          </p:cNvPr>
          <p:cNvSpPr/>
          <p:nvPr/>
        </p:nvSpPr>
        <p:spPr>
          <a:xfrm>
            <a:off x="1664104" y="5146767"/>
            <a:ext cx="1609344" cy="608076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Dat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DB3D82-DAB5-3F44-B202-27B60F188F29}"/>
              </a:ext>
            </a:extLst>
          </p:cNvPr>
          <p:cNvSpPr/>
          <p:nvPr/>
        </p:nvSpPr>
        <p:spPr>
          <a:xfrm>
            <a:off x="1664104" y="3998722"/>
            <a:ext cx="1609344" cy="58305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Mod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ADB3466-2DF9-6C48-B039-91103CDA4FB5}"/>
              </a:ext>
            </a:extLst>
          </p:cNvPr>
          <p:cNvSpPr/>
          <p:nvPr/>
        </p:nvSpPr>
        <p:spPr>
          <a:xfrm>
            <a:off x="8128578" y="3773614"/>
            <a:ext cx="1609344" cy="1033272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re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willing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hange</a:t>
            </a:r>
            <a:r>
              <a:rPr lang="de-DE" sz="1600" dirty="0"/>
              <a:t>?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0A4E013C-E931-034B-93C7-F6DB6D66E128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2468776" y="3390646"/>
            <a:ext cx="0" cy="608076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9EF09A0-2F99-7A4B-8876-AC6FB1A5DDBC}"/>
              </a:ext>
            </a:extLst>
          </p:cNvPr>
          <p:cNvCxnSpPr>
            <a:cxnSpLocks/>
            <a:stCxn id="9" idx="0"/>
            <a:endCxn id="10" idx="2"/>
          </p:cNvCxnSpPr>
          <p:nvPr/>
        </p:nvCxnSpPr>
        <p:spPr>
          <a:xfrm flipV="1">
            <a:off x="2468776" y="4581779"/>
            <a:ext cx="0" cy="564988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7F3EEFA7-60C5-574A-8399-82E5AC9CB616}"/>
              </a:ext>
            </a:extLst>
          </p:cNvPr>
          <p:cNvSpPr/>
          <p:nvPr/>
        </p:nvSpPr>
        <p:spPr>
          <a:xfrm>
            <a:off x="5585713" y="3542769"/>
            <a:ext cx="1609344" cy="73441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My</a:t>
            </a:r>
            <a:r>
              <a:rPr lang="de-DE" sz="1600" dirty="0"/>
              <a:t> </a:t>
            </a:r>
            <a:r>
              <a:rPr lang="de-DE" sz="1600" dirty="0" err="1"/>
              <a:t>impact</a:t>
            </a:r>
            <a:r>
              <a:rPr lang="de-DE" sz="1600" dirty="0"/>
              <a:t> on planet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7E583334-4672-B649-B67D-3E3779D2BC9C}"/>
              </a:ext>
            </a:extLst>
          </p:cNvPr>
          <p:cNvCxnSpPr>
            <a:cxnSpLocks/>
          </p:cNvCxnSpPr>
          <p:nvPr/>
        </p:nvCxnSpPr>
        <p:spPr>
          <a:xfrm>
            <a:off x="7622320" y="4351895"/>
            <a:ext cx="506258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601AA0F2-157D-3540-B424-92A7F2616DE4}"/>
              </a:ext>
            </a:extLst>
          </p:cNvPr>
          <p:cNvSpPr txBox="1"/>
          <p:nvPr/>
        </p:nvSpPr>
        <p:spPr>
          <a:xfrm>
            <a:off x="7195057" y="3144089"/>
            <a:ext cx="1101916" cy="3108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DE" b="1" dirty="0"/>
              <a:t>Zoo </a:t>
            </a:r>
            <a:r>
              <a:rPr lang="de-DE" b="1" dirty="0" err="1"/>
              <a:t>Visitor</a:t>
            </a:r>
            <a:endParaRPr lang="de-DE" b="1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97A31CA-D5E3-5543-AD2E-BC1A91054698}"/>
              </a:ext>
            </a:extLst>
          </p:cNvPr>
          <p:cNvSpPr txBox="1"/>
          <p:nvPr/>
        </p:nvSpPr>
        <p:spPr>
          <a:xfrm>
            <a:off x="716597" y="19961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21569F8-0B8B-744E-992D-6BBFAE3A1F14}"/>
              </a:ext>
            </a:extLst>
          </p:cNvPr>
          <p:cNvSpPr txBox="1"/>
          <p:nvPr/>
        </p:nvSpPr>
        <p:spPr>
          <a:xfrm>
            <a:off x="1051200" y="2380720"/>
            <a:ext cx="2864973" cy="3108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b="1" dirty="0" err="1"/>
              <a:t>Your</a:t>
            </a:r>
            <a:r>
              <a:rPr lang="de-DE" b="1" dirty="0"/>
              <a:t> </a:t>
            </a:r>
            <a:r>
              <a:rPr lang="de-DE" b="1" dirty="0" err="1"/>
              <a:t>challenge</a:t>
            </a:r>
            <a:endParaRPr lang="de-DE" b="1" dirty="0"/>
          </a:p>
        </p:txBody>
      </p:sp>
      <p:sp>
        <p:nvSpPr>
          <p:cNvPr id="19" name="Pfeil nach links und rechts 18">
            <a:extLst>
              <a:ext uri="{FF2B5EF4-FFF2-40B4-BE49-F238E27FC236}">
                <a16:creationId xmlns:a16="http://schemas.microsoft.com/office/drawing/2014/main" id="{73AE7D60-CFE1-8648-9DF4-5B4E4FF76FF8}"/>
              </a:ext>
            </a:extLst>
          </p:cNvPr>
          <p:cNvSpPr/>
          <p:nvPr/>
        </p:nvSpPr>
        <p:spPr>
          <a:xfrm>
            <a:off x="3686015" y="4035060"/>
            <a:ext cx="1399032" cy="530352"/>
          </a:xfrm>
          <a:prstGeom prst="leftRightArrow">
            <a:avLst/>
          </a:prstGeom>
          <a:solidFill>
            <a:schemeClr val="tx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276BA8C-83E3-1042-BFE2-CDCA7CD22B3A}"/>
              </a:ext>
            </a:extLst>
          </p:cNvPr>
          <p:cNvSpPr txBox="1"/>
          <p:nvPr/>
        </p:nvSpPr>
        <p:spPr>
          <a:xfrm>
            <a:off x="3686014" y="3687827"/>
            <a:ext cx="1399031" cy="3108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b="1" dirty="0"/>
              <a:t>Interacti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7F91E23-0548-9343-9EFE-E9C931CFC71D}"/>
              </a:ext>
            </a:extLst>
          </p:cNvPr>
          <p:cNvSpPr txBox="1"/>
          <p:nvPr/>
        </p:nvSpPr>
        <p:spPr>
          <a:xfrm>
            <a:off x="5655526" y="5395822"/>
            <a:ext cx="1609344" cy="3108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b="1" dirty="0"/>
              <a:t>Awarene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16AC65A-3206-B845-A481-6D99D3B28BDC}"/>
              </a:ext>
            </a:extLst>
          </p:cNvPr>
          <p:cNvSpPr txBox="1"/>
          <p:nvPr/>
        </p:nvSpPr>
        <p:spPr>
          <a:xfrm>
            <a:off x="8128578" y="5432883"/>
            <a:ext cx="1609344" cy="3108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b="1" dirty="0"/>
              <a:t>Call </a:t>
            </a:r>
            <a:r>
              <a:rPr lang="de-DE" sz="1600" b="1" dirty="0" err="1"/>
              <a:t>to</a:t>
            </a:r>
            <a:r>
              <a:rPr lang="de-DE" sz="1600" b="1" dirty="0"/>
              <a:t> </a:t>
            </a:r>
            <a:r>
              <a:rPr lang="de-DE" sz="1600" b="1" dirty="0" err="1"/>
              <a:t>action</a:t>
            </a:r>
            <a:endParaRPr lang="de-DE" sz="1600" b="1" dirty="0"/>
          </a:p>
        </p:txBody>
      </p:sp>
      <p:sp>
        <p:nvSpPr>
          <p:cNvPr id="27" name="Rechteck 13">
            <a:extLst>
              <a:ext uri="{FF2B5EF4-FFF2-40B4-BE49-F238E27FC236}">
                <a16:creationId xmlns:a16="http://schemas.microsoft.com/office/drawing/2014/main" id="{8CF723B4-547F-4649-B8F9-61A8DDE2B31B}"/>
              </a:ext>
            </a:extLst>
          </p:cNvPr>
          <p:cNvSpPr/>
          <p:nvPr/>
        </p:nvSpPr>
        <p:spPr>
          <a:xfrm>
            <a:off x="5585713" y="4426611"/>
            <a:ext cx="1609344" cy="73441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My</a:t>
            </a:r>
            <a:r>
              <a:rPr lang="de-DE" sz="1600" dirty="0"/>
              <a:t> </a:t>
            </a:r>
            <a:r>
              <a:rPr lang="de-DE" sz="1600" dirty="0" err="1"/>
              <a:t>impact</a:t>
            </a:r>
            <a:r>
              <a:rPr lang="de-DE" sz="1600" dirty="0"/>
              <a:t> on </a:t>
            </a:r>
            <a:r>
              <a:rPr lang="de-DE" sz="1600" dirty="0" err="1"/>
              <a:t>penguins</a:t>
            </a:r>
            <a:endParaRPr lang="de-DE" sz="1600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54F5A76-E5EB-E24A-9562-304F3E218E64}"/>
              </a:ext>
            </a:extLst>
          </p:cNvPr>
          <p:cNvCxnSpPr>
            <a:cxnSpLocks/>
          </p:cNvCxnSpPr>
          <p:nvPr/>
        </p:nvCxnSpPr>
        <p:spPr>
          <a:xfrm flipH="1">
            <a:off x="7624069" y="3909974"/>
            <a:ext cx="1" cy="88384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8E52A31-6361-7444-A172-4E23F797C573}"/>
              </a:ext>
            </a:extLst>
          </p:cNvPr>
          <p:cNvCxnSpPr>
            <a:cxnSpLocks/>
            <a:stCxn id="14" idx="3"/>
          </p:cNvCxnSpPr>
          <p:nvPr/>
        </p:nvCxnSpPr>
        <p:spPr>
          <a:xfrm flipV="1">
            <a:off x="7195057" y="3909974"/>
            <a:ext cx="427263" cy="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FB8907-1683-F74C-99E6-120F0F333AFB}"/>
              </a:ext>
            </a:extLst>
          </p:cNvPr>
          <p:cNvCxnSpPr>
            <a:cxnSpLocks/>
            <a:stCxn id="27" idx="3"/>
          </p:cNvCxnSpPr>
          <p:nvPr/>
        </p:nvCxnSpPr>
        <p:spPr>
          <a:xfrm flipV="1">
            <a:off x="7195057" y="4793816"/>
            <a:ext cx="427263" cy="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20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AF7E3D-B394-ED46-A05B-4F305CB91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 </a:t>
            </a:r>
            <a:r>
              <a:rPr lang="de-DE" dirty="0" err="1"/>
              <a:t>idea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FA98639-D556-F24B-90E0-1E2D440969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2B15FF6-1C12-5944-B558-F86451ABC821}"/>
              </a:ext>
            </a:extLst>
          </p:cNvPr>
          <p:cNvSpPr txBox="1"/>
          <p:nvPr/>
        </p:nvSpPr>
        <p:spPr>
          <a:xfrm>
            <a:off x="6336792" y="257860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44EA6D9-609B-5F47-8688-940506670247}"/>
              </a:ext>
            </a:extLst>
          </p:cNvPr>
          <p:cNvGrpSpPr/>
          <p:nvPr/>
        </p:nvGrpSpPr>
        <p:grpSpPr>
          <a:xfrm>
            <a:off x="4196432" y="3268668"/>
            <a:ext cx="3108960" cy="1914336"/>
            <a:chOff x="1313237" y="-381789"/>
            <a:chExt cx="3108960" cy="191433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0CD2C9F9-164D-144E-8E0F-5D887A3B984A}"/>
                </a:ext>
              </a:extLst>
            </p:cNvPr>
            <p:cNvSpPr txBox="1"/>
            <p:nvPr/>
          </p:nvSpPr>
          <p:spPr>
            <a:xfrm>
              <a:off x="2067375" y="-381789"/>
              <a:ext cx="1298448" cy="2743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de-DE" dirty="0" err="1"/>
                <a:t>Gamification</a:t>
              </a:r>
              <a:endParaRPr lang="de-DE" dirty="0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013B333-A686-5B42-8D61-FAAFF83C68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45571" y="-84513"/>
              <a:ext cx="2444293" cy="1594104"/>
            </a:xfrm>
            <a:prstGeom prst="rect">
              <a:avLst/>
            </a:prstGeom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32CF46C-BE5E-5341-B17A-887AACC8ADBA}"/>
                </a:ext>
              </a:extLst>
            </p:cNvPr>
            <p:cNvSpPr/>
            <p:nvPr/>
          </p:nvSpPr>
          <p:spPr>
            <a:xfrm>
              <a:off x="1313237" y="1317103"/>
              <a:ext cx="310896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CH" sz="800" dirty="0"/>
                <a:t>Source: </a:t>
              </a:r>
              <a:r>
                <a:rPr lang="de-CH" sz="800" dirty="0" err="1"/>
                <a:t>Pixabay</a:t>
              </a:r>
              <a:endParaRPr lang="de-DE" sz="800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FFA9034-48E9-684F-964E-EE02B4794C08}"/>
              </a:ext>
            </a:extLst>
          </p:cNvPr>
          <p:cNvGrpSpPr/>
          <p:nvPr/>
        </p:nvGrpSpPr>
        <p:grpSpPr>
          <a:xfrm>
            <a:off x="1154381" y="2069278"/>
            <a:ext cx="2514600" cy="4101755"/>
            <a:chOff x="6478032" y="1511490"/>
            <a:chExt cx="2514600" cy="4101755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CF66E106-5853-2C44-BDDF-71C5FC9FC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96323" y="3821937"/>
              <a:ext cx="2316402" cy="154426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5BF8D26C-8D49-2141-9950-862D5A15C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96323" y="1975438"/>
              <a:ext cx="2316402" cy="1544268"/>
            </a:xfrm>
            <a:prstGeom prst="rect">
              <a:avLst/>
            </a:prstGeom>
          </p:spPr>
        </p:pic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CD04D236-820D-C345-839F-8F50D4CD3679}"/>
                </a:ext>
              </a:extLst>
            </p:cNvPr>
            <p:cNvSpPr/>
            <p:nvPr/>
          </p:nvSpPr>
          <p:spPr>
            <a:xfrm>
              <a:off x="7904714" y="5397801"/>
              <a:ext cx="100801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CH" sz="800" dirty="0"/>
                <a:t>Source: </a:t>
              </a:r>
              <a:r>
                <a:rPr lang="de-CH" sz="800" dirty="0" err="1"/>
                <a:t>Pixabay</a:t>
              </a:r>
              <a:endParaRPr lang="de-DE" sz="800" dirty="0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602FF50-DEF3-FD45-BC9B-D1420E27BEB7}"/>
                </a:ext>
              </a:extLst>
            </p:cNvPr>
            <p:cNvSpPr txBox="1"/>
            <p:nvPr/>
          </p:nvSpPr>
          <p:spPr>
            <a:xfrm>
              <a:off x="6478032" y="1511490"/>
              <a:ext cx="2514600" cy="3373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dirty="0" err="1"/>
                <a:t>Analyze</a:t>
              </a:r>
              <a:r>
                <a:rPr lang="de-DE" dirty="0"/>
                <a:t> </a:t>
              </a:r>
              <a:r>
                <a:rPr lang="de-DE" dirty="0" err="1"/>
                <a:t>user</a:t>
              </a:r>
              <a:r>
                <a:rPr lang="de-DE" dirty="0"/>
                <a:t> </a:t>
              </a:r>
              <a:r>
                <a:rPr lang="de-DE" dirty="0" err="1"/>
                <a:t>habits</a:t>
              </a:r>
              <a:endParaRPr lang="de-DE" dirty="0"/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02FBAAE-8838-7242-8E97-D826E90C7578}"/>
              </a:ext>
            </a:extLst>
          </p:cNvPr>
          <p:cNvGrpSpPr/>
          <p:nvPr/>
        </p:nvGrpSpPr>
        <p:grpSpPr>
          <a:xfrm>
            <a:off x="7388872" y="1703522"/>
            <a:ext cx="3036783" cy="2266609"/>
            <a:chOff x="7898830" y="1595781"/>
            <a:chExt cx="3036783" cy="2266609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BC8F6F0F-9625-3E4B-B28D-60A303E21895}"/>
                </a:ext>
              </a:extLst>
            </p:cNvPr>
            <p:cNvSpPr/>
            <p:nvPr/>
          </p:nvSpPr>
          <p:spPr>
            <a:xfrm>
              <a:off x="9961657" y="3646946"/>
              <a:ext cx="97395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CH" sz="800" dirty="0"/>
                <a:t>Source: </a:t>
              </a:r>
              <a:r>
                <a:rPr lang="de-CH" sz="800" dirty="0" err="1"/>
                <a:t>Pixabay</a:t>
              </a:r>
              <a:endParaRPr lang="de-DE" sz="800" dirty="0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F8E89E36-B299-4049-A9F7-34A00462C750}"/>
                </a:ext>
              </a:extLst>
            </p:cNvPr>
            <p:cNvGrpSpPr/>
            <p:nvPr/>
          </p:nvGrpSpPr>
          <p:grpSpPr>
            <a:xfrm>
              <a:off x="7898830" y="1595781"/>
              <a:ext cx="2943253" cy="2009474"/>
              <a:chOff x="8147727" y="-428853"/>
              <a:chExt cx="2943253" cy="2009474"/>
            </a:xfrm>
          </p:grpSpPr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D7D5EB23-4A84-4E42-A58C-F627D7532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22800" y="-4972"/>
                <a:ext cx="2768180" cy="1585593"/>
              </a:xfrm>
              <a:prstGeom prst="rect">
                <a:avLst/>
              </a:prstGeom>
            </p:spPr>
          </p:pic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ADEA4F95-CC46-DC46-99F8-97BD6055A417}"/>
                  </a:ext>
                </a:extLst>
              </p:cNvPr>
              <p:cNvSpPr txBox="1"/>
              <p:nvPr/>
            </p:nvSpPr>
            <p:spPr>
              <a:xfrm>
                <a:off x="8147727" y="-428853"/>
                <a:ext cx="2943253" cy="2743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de-DE" dirty="0"/>
                  <a:t>Interaction</a:t>
                </a:r>
              </a:p>
            </p:txBody>
          </p:sp>
        </p:grp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C44DEA2-1C48-FB47-8FB4-867A1A4E1A21}"/>
              </a:ext>
            </a:extLst>
          </p:cNvPr>
          <p:cNvGrpSpPr/>
          <p:nvPr/>
        </p:nvGrpSpPr>
        <p:grpSpPr>
          <a:xfrm>
            <a:off x="7572518" y="4314788"/>
            <a:ext cx="2943253" cy="2149454"/>
            <a:chOff x="1536613" y="3896489"/>
            <a:chExt cx="2943253" cy="2149454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33A12EE5-693D-C344-9F13-867B0FEA9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41215" y="4271943"/>
              <a:ext cx="2534050" cy="1554961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E72D0062-E0BC-0547-98C7-D14CEC3DC991}"/>
                </a:ext>
              </a:extLst>
            </p:cNvPr>
            <p:cNvSpPr txBox="1"/>
            <p:nvPr/>
          </p:nvSpPr>
          <p:spPr>
            <a:xfrm>
              <a:off x="1536613" y="3896489"/>
              <a:ext cx="2943253" cy="2743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dirty="0" err="1"/>
                <a:t>Based</a:t>
              </a:r>
              <a:r>
                <a:rPr lang="de-DE" dirty="0"/>
                <a:t> on </a:t>
              </a:r>
              <a:r>
                <a:rPr lang="de-DE" dirty="0" err="1"/>
                <a:t>data</a:t>
              </a:r>
              <a:r>
                <a:rPr lang="de-DE" dirty="0"/>
                <a:t> </a:t>
              </a:r>
              <a:r>
                <a:rPr lang="de-DE" dirty="0" err="1"/>
                <a:t>and</a:t>
              </a:r>
              <a:r>
                <a:rPr lang="de-DE" dirty="0"/>
                <a:t> </a:t>
              </a:r>
              <a:r>
                <a:rPr lang="de-DE" dirty="0" err="1"/>
                <a:t>facts</a:t>
              </a:r>
              <a:endParaRPr lang="de-DE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63CA266-1676-784B-A233-3F23CAA267E4}"/>
                </a:ext>
              </a:extLst>
            </p:cNvPr>
            <p:cNvSpPr/>
            <p:nvPr/>
          </p:nvSpPr>
          <p:spPr>
            <a:xfrm>
              <a:off x="3337505" y="5826904"/>
              <a:ext cx="929544" cy="2190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CH" sz="800" dirty="0"/>
                <a:t>Source: </a:t>
              </a:r>
              <a:r>
                <a:rPr lang="de-CH" sz="800" dirty="0" err="1"/>
                <a:t>Pixabay</a:t>
              </a:r>
              <a:endParaRPr lang="de-DE" sz="800" dirty="0"/>
            </a:p>
          </p:txBody>
        </p:sp>
      </p:grpSp>
      <p:sp>
        <p:nvSpPr>
          <p:cNvPr id="26" name="Rechteck 14">
            <a:extLst>
              <a:ext uri="{FF2B5EF4-FFF2-40B4-BE49-F238E27FC236}">
                <a16:creationId xmlns:a16="http://schemas.microsoft.com/office/drawing/2014/main" id="{A6882DDA-48DC-4B48-80DC-2B01589C4B02}"/>
              </a:ext>
            </a:extLst>
          </p:cNvPr>
          <p:cNvSpPr/>
          <p:nvPr/>
        </p:nvSpPr>
        <p:spPr>
          <a:xfrm>
            <a:off x="2660970" y="4109090"/>
            <a:ext cx="100801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800" dirty="0"/>
              <a:t>Source: </a:t>
            </a:r>
            <a:r>
              <a:rPr lang="de-CH" sz="800" dirty="0" err="1"/>
              <a:t>Pixabay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20589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01BE24B-6D43-BB4C-9734-AC015917E0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427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4CD8413-D56D-6D44-A9EA-6452CD6DC0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36E2F2-DDCA-024A-A635-6506058D7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 harbor stat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B19A2-302A-1A47-94F9-13B5BAEC2B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The following is intended to outline our general product direction. It is intended for information purposes only, and may not be incorporated into any contract. It is not a commitment to deliver any material, code, or functionality, and should not be relied upon in making purchasing decisions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development, release, timing, and pricing of any features or functionality described for Oracle’s products may change and remains at the sole discretion of Oracle Corporation.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5CF979A-F62A-1C46-AB6C-F0F43F3D0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10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2417F-2AFF-D447-9BC1-552EF2B1B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Your</a:t>
            </a:r>
            <a:r>
              <a:rPr lang="de-DE" sz="3200" dirty="0"/>
              <a:t>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594809-03CC-9C4D-ADDE-850B6830AC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D517440-9222-354E-909C-58A3618237FA}"/>
              </a:ext>
            </a:extLst>
          </p:cNvPr>
          <p:cNvSpPr txBox="1">
            <a:spLocks/>
          </p:cNvSpPr>
          <p:nvPr/>
        </p:nvSpPr>
        <p:spPr>
          <a:xfrm>
            <a:off x="768096" y="1968500"/>
            <a:ext cx="10621421" cy="121920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r>
              <a:rPr lang="de-DE" dirty="0"/>
              <a:t>Thin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</a:t>
            </a:r>
            <a:r>
              <a:rPr lang="de-DE" dirty="0" err="1"/>
              <a:t>rela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oo </a:t>
            </a:r>
            <a:r>
              <a:rPr lang="de-DE" dirty="0" err="1"/>
              <a:t>Zurich</a:t>
            </a:r>
            <a:r>
              <a:rPr lang="de-DE" dirty="0"/>
              <a:t>.</a:t>
            </a:r>
            <a:br>
              <a:rPr lang="de-DE" dirty="0"/>
            </a:b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FE263DA-D081-8048-B857-B631EFA7A3C7}"/>
              </a:ext>
            </a:extLst>
          </p:cNvPr>
          <p:cNvSpPr txBox="1">
            <a:spLocks/>
          </p:cNvSpPr>
          <p:nvPr/>
        </p:nvSpPr>
        <p:spPr>
          <a:xfrm>
            <a:off x="768094" y="3427479"/>
            <a:ext cx="10621421" cy="83032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r>
              <a:rPr lang="de-DE" dirty="0" err="1"/>
              <a:t>Reach</a:t>
            </a:r>
            <a:r>
              <a:rPr lang="de-DE" dirty="0"/>
              <a:t> a </a:t>
            </a:r>
            <a:r>
              <a:rPr lang="de-DE" dirty="0" err="1"/>
              <a:t>million</a:t>
            </a:r>
            <a:r>
              <a:rPr lang="de-DE" dirty="0"/>
              <a:t> </a:t>
            </a:r>
            <a:r>
              <a:rPr lang="de-DE" dirty="0" err="1"/>
              <a:t>peopl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!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CBD1E214-1941-314D-BFCD-C51C154FFA03}"/>
              </a:ext>
            </a:extLst>
          </p:cNvPr>
          <p:cNvSpPr txBox="1">
            <a:spLocks/>
          </p:cNvSpPr>
          <p:nvPr/>
        </p:nvSpPr>
        <p:spPr>
          <a:xfrm>
            <a:off x="768095" y="4748279"/>
            <a:ext cx="10621421" cy="121920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br>
              <a:rPr lang="de-DE" dirty="0"/>
            </a:br>
            <a:r>
              <a:rPr lang="de-DE" dirty="0"/>
              <a:t>Help sav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nguins</a:t>
            </a:r>
            <a:r>
              <a:rPr lang="de-DE" dirty="0"/>
              <a:t>!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784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A9B17FE-6A00-8A49-825C-B37C42A91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A9B17FE-6A00-8A49-825C-B37C42A91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BBC6A64A-5A9E-5C46-87B9-719B77A3F9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0D3AEF-CB7E-7F45-8FB2-B74A50EA11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ituation of the pengui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F08097-C8AC-4C49-81E0-E3CD1AD56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AA26AD-60B2-0C4B-B406-28961F4E4E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3D1CD-AF6F-AB41-A248-F132F08A2B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309067-4E8F-E243-81FC-305E54A19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8FF45F-1146-4C49-ACBB-12902DF36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2C68B2-2A22-6842-AFF5-B86DD32DA028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Challenge in detai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D5F1C4-4E16-A64E-B002-0F24E841636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ourc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CF77E92-6B2E-9F46-A561-D71CB6740DDD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racle Labs Data Studio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C59AC5E-ABFB-4047-BBA0-1BC6250E70E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7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943CFA-D2C1-0943-8375-850A41AAB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tential Data </a:t>
            </a:r>
            <a:r>
              <a:rPr lang="de-DE" dirty="0" err="1"/>
              <a:t>Sources</a:t>
            </a:r>
            <a:r>
              <a:rPr lang="de-DE" dirty="0"/>
              <a:t> (1/2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949EB2-1B04-A142-BD5E-94BF76FD62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32C9CED-3AF2-F741-BD9C-0AEC92B50843}"/>
              </a:ext>
            </a:extLst>
          </p:cNvPr>
          <p:cNvSpPr txBox="1"/>
          <p:nvPr/>
        </p:nvSpPr>
        <p:spPr>
          <a:xfrm>
            <a:off x="5478844" y="248333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C4B68EC-83D0-DB47-9A43-963D2946A6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22" t="-320" r="7779" b="-1"/>
          <a:stretch/>
        </p:blipFill>
        <p:spPr>
          <a:xfrm>
            <a:off x="579065" y="2261617"/>
            <a:ext cx="3245476" cy="779224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378B63E5-C467-C84F-A60C-E5EA7F0546D3}"/>
              </a:ext>
            </a:extLst>
          </p:cNvPr>
          <p:cNvSpPr txBox="1"/>
          <p:nvPr/>
        </p:nvSpPr>
        <p:spPr>
          <a:xfrm>
            <a:off x="1187006" y="3148302"/>
            <a:ext cx="1671479" cy="2502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CH" sz="1100" dirty="0">
                <a:hlinkClick r:id="rId3"/>
              </a:rPr>
              <a:t>https://opendata.swiss/</a:t>
            </a:r>
            <a:endParaRPr lang="de-DE" sz="11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2F5F979-5D87-E941-9CFB-19CBC8DE4576}"/>
              </a:ext>
            </a:extLst>
          </p:cNvPr>
          <p:cNvSpPr txBox="1"/>
          <p:nvPr/>
        </p:nvSpPr>
        <p:spPr>
          <a:xfrm>
            <a:off x="646624" y="3738850"/>
            <a:ext cx="3300978" cy="3325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7018 Data Set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16494DA-D793-4142-96DA-DAD995C814E9}"/>
              </a:ext>
            </a:extLst>
          </p:cNvPr>
          <p:cNvSpPr txBox="1"/>
          <p:nvPr/>
        </p:nvSpPr>
        <p:spPr>
          <a:xfrm>
            <a:off x="769683" y="4552889"/>
            <a:ext cx="3300985" cy="15276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Mobility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and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traffic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New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car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registration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Socio-demographic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data</a:t>
            </a: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FCB9B17-8DAC-254E-AA11-07904C6DF1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3660" y="2261378"/>
            <a:ext cx="3251274" cy="779463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EBB4D0E-75BF-6D48-87C3-BD3D3828648A}"/>
              </a:ext>
            </a:extLst>
          </p:cNvPr>
          <p:cNvSpPr txBox="1"/>
          <p:nvPr/>
        </p:nvSpPr>
        <p:spPr>
          <a:xfrm>
            <a:off x="4120605" y="3192968"/>
            <a:ext cx="3366520" cy="2502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CH" sz="1100" dirty="0">
                <a:hlinkClick r:id="rId5"/>
              </a:rPr>
              <a:t>https://storage.googleapis.com/openimages/web/index.html</a:t>
            </a:r>
            <a:endParaRPr lang="de-DE" sz="1100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2A3B9A0-CFE4-0C43-9ADA-189284C8CE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9766" y="2261378"/>
            <a:ext cx="1653362" cy="779463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EE1A218A-C9F3-764F-9333-0893796A3FAD}"/>
              </a:ext>
            </a:extLst>
          </p:cNvPr>
          <p:cNvSpPr txBox="1"/>
          <p:nvPr/>
        </p:nvSpPr>
        <p:spPr>
          <a:xfrm>
            <a:off x="8949766" y="3194301"/>
            <a:ext cx="2362023" cy="3209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CH" sz="1100" dirty="0">
                <a:hlinkClick r:id="rId7"/>
              </a:rPr>
              <a:t>https://ourworldindata.org</a:t>
            </a:r>
            <a:endParaRPr lang="de-DE" sz="1100" dirty="0"/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16F6AD3A-CD15-2242-9CE3-2684DA9E9C0D}"/>
              </a:ext>
            </a:extLst>
          </p:cNvPr>
          <p:cNvCxnSpPr/>
          <p:nvPr/>
        </p:nvCxnSpPr>
        <p:spPr>
          <a:xfrm>
            <a:off x="533400" y="3486304"/>
            <a:ext cx="11125200" cy="28924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A81EBF28-C25E-4E40-B5A0-6FF423864816}"/>
              </a:ext>
            </a:extLst>
          </p:cNvPr>
          <p:cNvCxnSpPr>
            <a:cxnSpLocks/>
          </p:cNvCxnSpPr>
          <p:nvPr/>
        </p:nvCxnSpPr>
        <p:spPr>
          <a:xfrm>
            <a:off x="4070662" y="2261378"/>
            <a:ext cx="0" cy="3884559"/>
          </a:xfrm>
          <a:prstGeom prst="line">
            <a:avLst/>
          </a:prstGeom>
          <a:ln w="38100">
            <a:solidFill>
              <a:schemeClr val="tx1">
                <a:lumMod val="75000"/>
              </a:schemeClr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F0FFDBF6-902D-A04A-B5E3-57CFC5C1C53E}"/>
              </a:ext>
            </a:extLst>
          </p:cNvPr>
          <p:cNvCxnSpPr>
            <a:cxnSpLocks/>
          </p:cNvCxnSpPr>
          <p:nvPr/>
        </p:nvCxnSpPr>
        <p:spPr>
          <a:xfrm>
            <a:off x="8072687" y="2261378"/>
            <a:ext cx="24317" cy="3884559"/>
          </a:xfrm>
          <a:prstGeom prst="line">
            <a:avLst/>
          </a:prstGeom>
          <a:ln w="34925">
            <a:solidFill>
              <a:schemeClr val="tx1">
                <a:lumMod val="75000"/>
              </a:schemeClr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420A621-0F4F-3C4B-BCF9-7BB5BC3AEC1E}"/>
              </a:ext>
            </a:extLst>
          </p:cNvPr>
          <p:cNvCxnSpPr>
            <a:cxnSpLocks/>
          </p:cNvCxnSpPr>
          <p:nvPr/>
        </p:nvCxnSpPr>
        <p:spPr>
          <a:xfrm>
            <a:off x="533400" y="4214886"/>
            <a:ext cx="11125200" cy="0"/>
          </a:xfrm>
          <a:prstGeom prst="line">
            <a:avLst/>
          </a:prstGeom>
          <a:ln w="19050">
            <a:solidFill>
              <a:schemeClr val="tx1">
                <a:lumMod val="75000"/>
              </a:schemeClr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170C0658-8075-C249-980B-66E38D3E9651}"/>
              </a:ext>
            </a:extLst>
          </p:cNvPr>
          <p:cNvSpPr txBox="1"/>
          <p:nvPr/>
        </p:nvSpPr>
        <p:spPr>
          <a:xfrm>
            <a:off x="4388416" y="3733224"/>
            <a:ext cx="3684271" cy="3325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9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million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images</a:t>
            </a: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61E2FCB-7569-574D-B6CF-F0907299FC1F}"/>
              </a:ext>
            </a:extLst>
          </p:cNvPr>
          <p:cNvSpPr txBox="1"/>
          <p:nvPr/>
        </p:nvSpPr>
        <p:spPr>
          <a:xfrm>
            <a:off x="4388416" y="4541243"/>
            <a:ext cx="3219521" cy="15276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Types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of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food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Animals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Types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of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waste</a:t>
            </a: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lnSpc>
                <a:spcPct val="90000"/>
              </a:lnSpc>
            </a:pPr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CB0DB3C-95A3-1549-940C-FCBFAF2B126F}"/>
              </a:ext>
            </a:extLst>
          </p:cNvPr>
          <p:cNvSpPr txBox="1"/>
          <p:nvPr/>
        </p:nvSpPr>
        <p:spPr>
          <a:xfrm>
            <a:off x="8279085" y="3733224"/>
            <a:ext cx="2946089" cy="3325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3028 Data Set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8B70A90-006B-294C-AE21-7A790CD6A512}"/>
              </a:ext>
            </a:extLst>
          </p:cNvPr>
          <p:cNvSpPr txBox="1"/>
          <p:nvPr/>
        </p:nvSpPr>
        <p:spPr>
          <a:xfrm>
            <a:off x="8463023" y="4552889"/>
            <a:ext cx="3146938" cy="15276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Plastic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Pollution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Global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food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production</a:t>
            </a:r>
            <a:br>
              <a:rPr lang="de-DE" b="1" dirty="0">
                <a:solidFill>
                  <a:schemeClr val="bg2">
                    <a:lumMod val="10000"/>
                  </a:schemeClr>
                </a:solidFill>
              </a:rPr>
            </a:b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Fossil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fuel</a:t>
            </a:r>
            <a:r>
              <a:rPr lang="de-DE" b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2">
                    <a:lumMod val="10000"/>
                  </a:schemeClr>
                </a:solidFill>
              </a:rPr>
              <a:t>consumption</a:t>
            </a:r>
            <a:endParaRPr lang="de-DE" b="1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lnSpc>
                <a:spcPct val="900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370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2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943CFA-D2C1-0943-8375-850A41AAB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tential Data </a:t>
            </a:r>
            <a:r>
              <a:rPr lang="de-DE" dirty="0" err="1"/>
              <a:t>Sources</a:t>
            </a:r>
            <a:r>
              <a:rPr lang="de-DE" dirty="0"/>
              <a:t> (2/2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949EB2-1B04-A142-BD5E-94BF76FD62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32C9CED-3AF2-F741-BD9C-0AEC92B50843}"/>
              </a:ext>
            </a:extLst>
          </p:cNvPr>
          <p:cNvSpPr txBox="1"/>
          <p:nvPr/>
        </p:nvSpPr>
        <p:spPr>
          <a:xfrm>
            <a:off x="5478844" y="229014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1B2FA8F-60A3-2D4B-91ED-16D6C74857E3}"/>
              </a:ext>
            </a:extLst>
          </p:cNvPr>
          <p:cNvSpPr txBox="1"/>
          <p:nvPr/>
        </p:nvSpPr>
        <p:spPr>
          <a:xfrm>
            <a:off x="4141230" y="3204548"/>
            <a:ext cx="32792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dirty="0" err="1"/>
              <a:t>Pengiun</a:t>
            </a:r>
            <a:r>
              <a:rPr lang="de-DE" sz="2800" b="1" dirty="0"/>
              <a:t> GPS Data</a:t>
            </a:r>
          </a:p>
        </p:txBody>
      </p:sp>
    </p:spTree>
    <p:extLst>
      <p:ext uri="{BB962C8B-B14F-4D97-AF65-F5344CB8AC3E}">
        <p14:creationId xmlns:p14="http://schemas.microsoft.com/office/powerpoint/2010/main" val="124358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A9B17FE-6A00-8A49-825C-B37C42A91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A9B17FE-6A00-8A49-825C-B37C42A91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BBC6A64A-5A9E-5C46-87B9-719B77A3F9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0D3AEF-CB7E-7F45-8FB2-B74A50EA11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ituation of the pengui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F08097-C8AC-4C49-81E0-E3CD1AD56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AA26AD-60B2-0C4B-B406-28961F4E4E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3D1CD-AF6F-AB41-A248-F132F08A2B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309067-4E8F-E243-81FC-305E54A19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8FF45F-1146-4C49-ACBB-12902DF36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2C68B2-2A22-6842-AFF5-B86DD32DA028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Challenge in detai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D5F1C4-4E16-A64E-B002-0F24E841636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Data sourc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CF77E92-6B2E-9F46-A561-D71CB6740DDD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Oracle Labs Data Studio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C59AC5E-ABFB-4047-BBA0-1BC6250E70E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4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572384-3A17-D24C-871F-C08428E55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Oracle</a:t>
            </a:r>
            <a:r>
              <a:rPr lang="en-US" dirty="0"/>
              <a:t> Labs Data Studio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441817-F082-7E44-8F9F-A334BEF86B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FAFFBBB-6F44-854E-93C6-1C6BAF2C835C}"/>
              </a:ext>
            </a:extLst>
          </p:cNvPr>
          <p:cNvSpPr txBox="1">
            <a:spLocks/>
          </p:cNvSpPr>
          <p:nvPr/>
        </p:nvSpPr>
        <p:spPr>
          <a:xfrm>
            <a:off x="628181" y="2106595"/>
            <a:ext cx="5466030" cy="46148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Enterprise notebook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b-based notebook platform for data scienti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pport live code collaboration in multiple programming languages (Python, Spark, MySQL,..)</a:t>
            </a:r>
          </a:p>
          <a:p>
            <a:r>
              <a:rPr lang="en-US" sz="1800" b="1" dirty="0"/>
              <a:t>Oracle </a:t>
            </a:r>
            <a:r>
              <a:rPr lang="en-US" sz="1800" b="1" dirty="0" err="1"/>
              <a:t>Labs’s</a:t>
            </a:r>
            <a:r>
              <a:rPr lang="en-US" sz="1800" b="1" dirty="0"/>
              <a:t> Products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S comes packaged with Oracle Labs' graph analytics tool (PGX) and property graph query language (PGQL)</a:t>
            </a:r>
          </a:p>
          <a:p>
            <a:r>
              <a:rPr lang="en-US" sz="1800" b="1" dirty="0"/>
              <a:t>Interactive, Rich Visual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isplay data in form of multiple charts, tables, graphs, texts, word cloud,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isual layer supports filtering graphs, highlighting elements, visualizing geographical data and mo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5219378-DA3B-974A-AC6D-AC701575BE6E}"/>
              </a:ext>
            </a:extLst>
          </p:cNvPr>
          <p:cNvSpPr txBox="1">
            <a:spLocks/>
          </p:cNvSpPr>
          <p:nvPr/>
        </p:nvSpPr>
        <p:spPr bwMode="gray">
          <a:xfrm>
            <a:off x="6213016" y="2243119"/>
            <a:ext cx="5466030" cy="4614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2pPr>
            <a:lvl3pPr mar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3pPr>
            <a:lvl4pPr marL="4114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–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4pPr>
            <a:lvl5pPr marL="59436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ntegration and usability of notebooks</a:t>
            </a:r>
            <a:endParaRPr lang="en-US" b="0" dirty="0">
              <a:solidFill>
                <a:schemeClr val="tx1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REST API can be used to display notebooks, paragraphs, outputs, etc. outside of 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xport notebooks in </a:t>
            </a:r>
            <a:r>
              <a:rPr lang="en-US" sz="1600" b="0" dirty="0" err="1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frame</a:t>
            </a:r>
            <a:r>
              <a:rPr lang="en-US" sz="1600" b="0" dirty="0">
                <a:solidFill>
                  <a:schemeClr val="tx1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to embed paragraphs in external environments</a:t>
            </a: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0D03FD5A-FB91-8B4B-8C26-3ACA442943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6"/>
          <a:stretch/>
        </p:blipFill>
        <p:spPr>
          <a:xfrm>
            <a:off x="6326402" y="3666245"/>
            <a:ext cx="5231998" cy="26901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9411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31448C-4443-914A-A8B3-07532D4DD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Oracle</a:t>
            </a:r>
            <a:r>
              <a:rPr lang="en-US" dirty="0"/>
              <a:t> Parallel Graph </a:t>
            </a:r>
            <a:r>
              <a:rPr lang="en-US" dirty="0" err="1"/>
              <a:t>AnalitiX</a:t>
            </a:r>
            <a:r>
              <a:rPr lang="en-US" dirty="0"/>
              <a:t> (PGX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D832F4-32E3-9741-82BC-7F56620110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5846531-1BBF-7A44-8C48-44ACA67A4A64}"/>
              </a:ext>
            </a:extLst>
          </p:cNvPr>
          <p:cNvSpPr txBox="1">
            <a:spLocks/>
          </p:cNvSpPr>
          <p:nvPr/>
        </p:nvSpPr>
        <p:spPr bwMode="gray">
          <a:xfrm>
            <a:off x="768096" y="2007938"/>
            <a:ext cx="5466030" cy="46148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2pPr>
            <a:lvl3pPr mar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3pPr>
            <a:lvl4pPr marL="4114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–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4pPr>
            <a:lvl5pPr marL="59436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ading graphs into mem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Define Nodes, Edges and their properties when loading the graph into memory</a:t>
            </a:r>
            <a:endParaRPr lang="en-US" b="0" dirty="0"/>
          </a:p>
          <a:p>
            <a:r>
              <a:rPr lang="en-US" dirty="0"/>
              <a:t>Running built-in graph algorith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35+ built-in graph analytics algorith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err="1"/>
              <a:t>DeepWalk</a:t>
            </a:r>
            <a:r>
              <a:rPr lang="en-US" sz="1600" b="0" dirty="0"/>
              <a:t>, PageRank, WCC, Cycle detection, …</a:t>
            </a:r>
          </a:p>
          <a:p>
            <a:r>
              <a:rPr lang="en-US" dirty="0"/>
              <a:t>Running custom graph algorith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Write up their own graph algorithms with the Green-Marl DSL and feed it to PGX</a:t>
            </a:r>
          </a:p>
          <a:p>
            <a:r>
              <a:rPr lang="en-US" dirty="0"/>
              <a:t>Running graph matching qu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Find sub-graphs of interest by querying a graph with Oracle </a:t>
            </a:r>
            <a:r>
              <a:rPr lang="en-US" sz="1600" b="0" dirty="0" err="1"/>
              <a:t>Labs’s</a:t>
            </a:r>
            <a:r>
              <a:rPr lang="en-US" sz="1600" b="0" dirty="0"/>
              <a:t> property graph query language (PGQL)</a:t>
            </a: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B3916029-7C4E-7545-AF45-A400676E96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256"/>
          <a:stretch/>
        </p:blipFill>
        <p:spPr>
          <a:xfrm>
            <a:off x="6800633" y="1627121"/>
            <a:ext cx="4514980" cy="4621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5072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59BCF3-5618-974B-B51E-829DFB528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45" y="633087"/>
            <a:ext cx="9887834" cy="844095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Oracle</a:t>
            </a:r>
            <a:r>
              <a:rPr lang="en-US" dirty="0"/>
              <a:t> Parallel Graph Query Language (PGQL)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074B22-CAB1-664F-8CE3-BF6A9D36D7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039C634-1B55-BA42-8C46-2576FB81E95E}"/>
              </a:ext>
            </a:extLst>
          </p:cNvPr>
          <p:cNvSpPr txBox="1">
            <a:spLocks/>
          </p:cNvSpPr>
          <p:nvPr/>
        </p:nvSpPr>
        <p:spPr>
          <a:xfrm>
            <a:off x="520797" y="1896751"/>
            <a:ext cx="11125198" cy="4381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pPr marL="285750" indent="-285750">
              <a:buFont typeface="Arial" charset="0"/>
              <a:buChar char="•"/>
            </a:pPr>
            <a:endParaRPr lang="en-US" dirty="0"/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4AE32A58-288E-9948-B590-75B613220D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745" b="1271"/>
          <a:stretch/>
        </p:blipFill>
        <p:spPr>
          <a:xfrm>
            <a:off x="861507" y="1656959"/>
            <a:ext cx="10946695" cy="46993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ounded Rectangular Callout 9">
            <a:extLst>
              <a:ext uri="{FF2B5EF4-FFF2-40B4-BE49-F238E27FC236}">
                <a16:creationId xmlns:a16="http://schemas.microsoft.com/office/drawing/2014/main" id="{260DFEE1-9F4D-D543-A8AD-B6CDA8B61D0F}"/>
              </a:ext>
            </a:extLst>
          </p:cNvPr>
          <p:cNvSpPr/>
          <p:nvPr/>
        </p:nvSpPr>
        <p:spPr>
          <a:xfrm>
            <a:off x="163795" y="2142249"/>
            <a:ext cx="688109" cy="538700"/>
          </a:xfrm>
          <a:prstGeom prst="wedgeRoundRectCallout">
            <a:avLst>
              <a:gd name="adj1" fmla="val 68361"/>
              <a:gd name="adj2" fmla="val -10943"/>
              <a:gd name="adj3" fmla="val 16667"/>
            </a:avLst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en-US" sz="1050" dirty="0">
                <a:solidFill>
                  <a:schemeClr val="bg1"/>
                </a:solidFill>
                <a:latin typeface="Calibri"/>
              </a:rPr>
              <a:t>Match  graph pattern</a:t>
            </a:r>
          </a:p>
        </p:txBody>
      </p:sp>
      <p:sp>
        <p:nvSpPr>
          <p:cNvPr id="14" name="Rounded Rectangular Callout 11">
            <a:extLst>
              <a:ext uri="{FF2B5EF4-FFF2-40B4-BE49-F238E27FC236}">
                <a16:creationId xmlns:a16="http://schemas.microsoft.com/office/drawing/2014/main" id="{B4799EB7-4B05-104F-AA51-11761C06348E}"/>
              </a:ext>
            </a:extLst>
          </p:cNvPr>
          <p:cNvSpPr/>
          <p:nvPr/>
        </p:nvSpPr>
        <p:spPr>
          <a:xfrm>
            <a:off x="3955865" y="1896751"/>
            <a:ext cx="884567" cy="298908"/>
          </a:xfrm>
          <a:prstGeom prst="wedgeRoundRectCallout">
            <a:avLst>
              <a:gd name="adj1" fmla="val 48387"/>
              <a:gd name="adj2" fmla="val 91923"/>
              <a:gd name="adj3" fmla="val 16667"/>
            </a:avLst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en-US" sz="1050" dirty="0">
                <a:solidFill>
                  <a:schemeClr val="bg1"/>
                </a:solidFill>
                <a:latin typeface="Calibri"/>
              </a:rPr>
              <a:t>Edge -[…]-&gt;</a:t>
            </a:r>
          </a:p>
        </p:txBody>
      </p:sp>
      <p:sp>
        <p:nvSpPr>
          <p:cNvPr id="15" name="Rounded Rectangular Callout 13">
            <a:extLst>
              <a:ext uri="{FF2B5EF4-FFF2-40B4-BE49-F238E27FC236}">
                <a16:creationId xmlns:a16="http://schemas.microsoft.com/office/drawing/2014/main" id="{61494D08-CCC9-2E45-A753-F9498FAC2B6F}"/>
              </a:ext>
            </a:extLst>
          </p:cNvPr>
          <p:cNvSpPr/>
          <p:nvPr/>
        </p:nvSpPr>
        <p:spPr>
          <a:xfrm>
            <a:off x="1965701" y="1627401"/>
            <a:ext cx="1473809" cy="269350"/>
          </a:xfrm>
          <a:prstGeom prst="wedgeRoundRectCallout">
            <a:avLst>
              <a:gd name="adj1" fmla="val -59641"/>
              <a:gd name="adj2" fmla="val 128900"/>
              <a:gd name="adj3" fmla="val 16667"/>
            </a:avLst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en-US" sz="1050" dirty="0">
                <a:solidFill>
                  <a:schemeClr val="bg1"/>
                </a:solidFill>
                <a:latin typeface="Calibri"/>
              </a:rPr>
              <a:t>Return a “result set”</a:t>
            </a:r>
          </a:p>
        </p:txBody>
      </p:sp>
      <p:sp>
        <p:nvSpPr>
          <p:cNvPr id="16" name="Rounded Rectangular Callout 14">
            <a:extLst>
              <a:ext uri="{FF2B5EF4-FFF2-40B4-BE49-F238E27FC236}">
                <a16:creationId xmlns:a16="http://schemas.microsoft.com/office/drawing/2014/main" id="{A1C5FEE3-ED77-6848-B35A-B9F9FED0EE21}"/>
              </a:ext>
            </a:extLst>
          </p:cNvPr>
          <p:cNvSpPr/>
          <p:nvPr/>
        </p:nvSpPr>
        <p:spPr>
          <a:xfrm>
            <a:off x="5641111" y="1992795"/>
            <a:ext cx="884567" cy="298908"/>
          </a:xfrm>
          <a:prstGeom prst="wedgeRoundRectCallout">
            <a:avLst>
              <a:gd name="adj1" fmla="val -86910"/>
              <a:gd name="adj2" fmla="val 64930"/>
              <a:gd name="adj3" fmla="val 16667"/>
            </a:avLst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en-US" sz="1050" dirty="0">
                <a:solidFill>
                  <a:schemeClr val="bg1"/>
                </a:solidFill>
                <a:latin typeface="Calibri"/>
              </a:rPr>
              <a:t>Vertex (…)</a:t>
            </a:r>
          </a:p>
        </p:txBody>
      </p:sp>
    </p:spTree>
    <p:extLst>
      <p:ext uri="{BB962C8B-B14F-4D97-AF65-F5344CB8AC3E}">
        <p14:creationId xmlns:p14="http://schemas.microsoft.com/office/powerpoint/2010/main" val="152899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469374-6FDA-674E-A159-B15148311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tudio </a:t>
            </a:r>
            <a:r>
              <a:rPr lang="en-US" dirty="0">
                <a:solidFill>
                  <a:schemeClr val="accent1"/>
                </a:solidFill>
              </a:rPr>
              <a:t>Notebook &amp; Graph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AE24F3-F706-5E49-A175-6D5A3B93EA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6" name="Picture 7">
            <a:hlinkClick r:id="rId2" highlightClick="1"/>
            <a:extLst>
              <a:ext uri="{FF2B5EF4-FFF2-40B4-BE49-F238E27FC236}">
                <a16:creationId xmlns:a16="http://schemas.microsoft.com/office/drawing/2014/main" id="{6C7D85A6-A029-3548-A99D-90BB43D541C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00" y="1801197"/>
            <a:ext cx="10356380" cy="43901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F6F2F154-10AB-AB4B-9280-889A99596588}"/>
              </a:ext>
            </a:extLst>
          </p:cNvPr>
          <p:cNvSpPr/>
          <p:nvPr/>
        </p:nvSpPr>
        <p:spPr>
          <a:xfrm>
            <a:off x="7909802" y="6255459"/>
            <a:ext cx="29268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Slack-Lato"/>
                <a:hlinkClick r:id="rId4"/>
              </a:rPr>
              <a:t>http://129.146.180.78:32678</a:t>
            </a:r>
            <a:endParaRPr lang="en-US" sz="1600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3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145F-62D5-4945-9E7B-DF7B0C3E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</a:t>
            </a:r>
            <a:r>
              <a:rPr lang="en-US" dirty="0">
                <a:solidFill>
                  <a:schemeClr val="accent1"/>
                </a:solidFill>
              </a:rPr>
              <a:t>support</a:t>
            </a:r>
            <a:r>
              <a:rPr lang="en-US" dirty="0"/>
              <a:t> to you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89499C-BB3D-354B-BC3F-7EEC0674B3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287B673-9A53-9540-81FD-27059C23C51A}"/>
              </a:ext>
            </a:extLst>
          </p:cNvPr>
          <p:cNvSpPr txBox="1">
            <a:spLocks/>
          </p:cNvSpPr>
          <p:nvPr/>
        </p:nvSpPr>
        <p:spPr bwMode="gray">
          <a:xfrm>
            <a:off x="826821" y="2007938"/>
            <a:ext cx="5466030" cy="46148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2pPr>
            <a:lvl3pPr mar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3pPr>
            <a:lvl4pPr marL="4114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–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4pPr>
            <a:lvl5pPr marL="59436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ands-on Se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here will be a couple of private hands-on sessions on using Data Studio and PGX for graph exploration during the Hackathon</a:t>
            </a:r>
          </a:p>
          <a:p>
            <a:r>
              <a:rPr lang="en-US" dirty="0"/>
              <a:t>Demo Sess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We prepared demo notebooks and will be giving short demo sessions on them during the Hackathon</a:t>
            </a:r>
          </a:p>
          <a:p>
            <a:r>
              <a:rPr lang="en-US" dirty="0"/>
              <a:t>24/7 Support for technical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Our team will be available during the entire Hackathon to support you with any questions on DS and PGX</a:t>
            </a:r>
            <a:endParaRPr lang="en-US" b="0" dirty="0"/>
          </a:p>
          <a:p>
            <a:r>
              <a:rPr lang="en-US" dirty="0"/>
              <a:t>Booth challe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Visit our booth to participate on the  ?? challenge and have the chance to win a ?? 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FD921204-8F5D-4842-AD82-4D7261E750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081" r="9651"/>
          <a:stretch/>
        </p:blipFill>
        <p:spPr>
          <a:xfrm>
            <a:off x="6486072" y="1723609"/>
            <a:ext cx="5313928" cy="41952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841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A9B17FE-6A00-8A49-825C-B37C42A91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A9B17FE-6A00-8A49-825C-B37C42A91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BBC6A64A-5A9E-5C46-87B9-719B77A3F9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0D3AEF-CB7E-7F45-8FB2-B74A50EA11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ituation of the pengui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F08097-C8AC-4C49-81E0-E3CD1AD56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AA26AD-60B2-0C4B-B406-28961F4E4E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3D1CD-AF6F-AB41-A248-F132F08A2B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309067-4E8F-E243-81FC-305E54A19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8FF45F-1146-4C49-ACBB-12902DF36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2C68B2-2A22-6842-AFF5-B86DD32DA028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Challenge in detai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D5F1C4-4E16-A64E-B002-0F24E841636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Data sourc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CF77E92-6B2E-9F46-A561-D71CB6740DDD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racle Labs Data Studio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C59AC5E-ABFB-4047-BBA0-1BC6250E70E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76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A9E81-86E7-B040-B1E0-5396D51FF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ful </a:t>
            </a:r>
            <a:r>
              <a:rPr lang="en-US" dirty="0">
                <a:solidFill>
                  <a:schemeClr val="accent1"/>
                </a:solidFill>
              </a:rPr>
              <a:t>Link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6CF520-8514-FC4B-B555-2E61421CAD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D256910-4473-AC47-88FF-01B725852A6D}"/>
              </a:ext>
            </a:extLst>
          </p:cNvPr>
          <p:cNvSpPr txBox="1">
            <a:spLocks/>
          </p:cNvSpPr>
          <p:nvPr/>
        </p:nvSpPr>
        <p:spPr bwMode="gray">
          <a:xfrm>
            <a:off x="768096" y="2090182"/>
            <a:ext cx="5468400" cy="4266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2pPr>
            <a:lvl3pPr mar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3pPr>
            <a:lvl4pPr marL="4114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–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4pPr>
            <a:lvl5pPr marL="59436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E505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rgbClr val="4E5052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1"/>
                </a:solidFill>
              </a:rPr>
              <a:t>PGX Documentation</a:t>
            </a:r>
          </a:p>
          <a:p>
            <a:r>
              <a:rPr lang="en-US" sz="1600" dirty="0">
                <a:hlinkClick r:id="rId2"/>
              </a:rPr>
              <a:t>https://docs.oracle.com/cd/E56133_01/latest/index.html</a:t>
            </a:r>
            <a:endParaRPr lang="en-US" sz="1600" dirty="0"/>
          </a:p>
          <a:p>
            <a:r>
              <a:rPr lang="en-US" sz="1600" dirty="0">
                <a:solidFill>
                  <a:schemeClr val="tx1"/>
                </a:solidFill>
              </a:rPr>
              <a:t>PGQL Documentation</a:t>
            </a:r>
          </a:p>
          <a:p>
            <a:r>
              <a:rPr lang="en-US" sz="1600" dirty="0">
                <a:hlinkClick r:id="rId3"/>
              </a:rPr>
              <a:t>http://pgql-lang.org/spec/1.2/#introduction</a:t>
            </a:r>
            <a:endParaRPr lang="en-US" sz="1600" dirty="0"/>
          </a:p>
          <a:p>
            <a:r>
              <a:rPr lang="en-US" sz="1600" dirty="0">
                <a:solidFill>
                  <a:schemeClr val="tx1"/>
                </a:solidFill>
              </a:rPr>
              <a:t>REST API Documentation</a:t>
            </a:r>
          </a:p>
          <a:p>
            <a:r>
              <a:rPr lang="en-US" sz="1600" dirty="0">
                <a:hlinkClick r:id="rId4"/>
              </a:rPr>
              <a:t>http://datastudio.oraclecorp.com/docs/apidoc/swagger-ui.html#/Notebooks</a:t>
            </a:r>
            <a:endParaRPr lang="en-US" sz="1600" dirty="0"/>
          </a:p>
          <a:p>
            <a:r>
              <a:rPr lang="en-US" sz="1600" dirty="0">
                <a:solidFill>
                  <a:schemeClr val="tx1"/>
                </a:solidFill>
              </a:rPr>
              <a:t>ZOO Zurich Research</a:t>
            </a:r>
          </a:p>
          <a:p>
            <a:r>
              <a:rPr lang="en-US" sz="1600" dirty="0">
                <a:hlinkClick r:id="rId5"/>
              </a:rPr>
              <a:t>https://www.zoo.ch/de/naturschutz-tiere/naturschutzprojekte/antarctic-research</a:t>
            </a:r>
            <a:endParaRPr lang="en-US" sz="1600" dirty="0"/>
          </a:p>
          <a:p>
            <a:r>
              <a:rPr lang="en-US" sz="1600" dirty="0">
                <a:solidFill>
                  <a:schemeClr val="tx1"/>
                </a:solidFill>
              </a:rPr>
              <a:t>Oracle Labs</a:t>
            </a:r>
          </a:p>
          <a:p>
            <a:r>
              <a:rPr lang="en-US" sz="1600" dirty="0">
                <a:hlinkClick r:id="rId6"/>
              </a:rPr>
              <a:t>https://labs.oracle.com/pls/apex/f?p=LABS:10</a:t>
            </a:r>
            <a:r>
              <a:rPr lang="en-US" sz="1600" dirty="0"/>
              <a:t>::::::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4050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EE9871CC-9258-4FD8-886A-F1C34E4D5B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319" y="1928837"/>
            <a:ext cx="1397996" cy="583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2705874-358F-C448-8DFF-F86987476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HackZurich</a:t>
            </a:r>
            <a:r>
              <a:rPr lang="en-US" dirty="0"/>
              <a:t> </a:t>
            </a:r>
            <a:r>
              <a:rPr lang="en-US" dirty="0">
                <a:solidFill>
                  <a:schemeClr val="accent1"/>
                </a:solidFill>
              </a:rPr>
              <a:t>Team</a:t>
            </a:r>
            <a:r>
              <a:rPr lang="en-US" dirty="0"/>
              <a:t>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B58AD8-9BDD-A146-AC3C-0A1E0D7A47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34401C9B-3BF3-5843-8235-6A3622A79A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078" r="14773" b="27851"/>
          <a:stretch/>
        </p:blipFill>
        <p:spPr>
          <a:xfrm>
            <a:off x="763841" y="2892540"/>
            <a:ext cx="1414585" cy="1414585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Picture 33">
            <a:extLst>
              <a:ext uri="{FF2B5EF4-FFF2-40B4-BE49-F238E27FC236}">
                <a16:creationId xmlns:a16="http://schemas.microsoft.com/office/drawing/2014/main" id="{0CABFA6F-AE3A-C744-B3D8-6713264DB9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3" r="233"/>
          <a:stretch/>
        </p:blipFill>
        <p:spPr>
          <a:xfrm>
            <a:off x="2267055" y="2904808"/>
            <a:ext cx="1406700" cy="14067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Picture 37">
            <a:extLst>
              <a:ext uri="{FF2B5EF4-FFF2-40B4-BE49-F238E27FC236}">
                <a16:creationId xmlns:a16="http://schemas.microsoft.com/office/drawing/2014/main" id="{B72BB28C-92C8-4A4F-8BC3-A4EEC8FD506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30" b="1830"/>
          <a:stretch/>
        </p:blipFill>
        <p:spPr>
          <a:xfrm>
            <a:off x="758396" y="4369258"/>
            <a:ext cx="1414800" cy="1414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39">
            <a:extLst>
              <a:ext uri="{FF2B5EF4-FFF2-40B4-BE49-F238E27FC236}">
                <a16:creationId xmlns:a16="http://schemas.microsoft.com/office/drawing/2014/main" id="{92FCCF62-F2D1-C746-91D3-3F73B6AD4B1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02" b="1602"/>
          <a:stretch/>
        </p:blipFill>
        <p:spPr>
          <a:xfrm>
            <a:off x="2266434" y="4369258"/>
            <a:ext cx="1414800" cy="1414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0" name="Picture 47">
            <a:extLst>
              <a:ext uri="{FF2B5EF4-FFF2-40B4-BE49-F238E27FC236}">
                <a16:creationId xmlns:a16="http://schemas.microsoft.com/office/drawing/2014/main" id="{4984A501-69D1-2C4B-B6E6-60550CAB160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3773435" y="2892325"/>
            <a:ext cx="1415837" cy="1414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" name="Picture 50">
            <a:extLst>
              <a:ext uri="{FF2B5EF4-FFF2-40B4-BE49-F238E27FC236}">
                <a16:creationId xmlns:a16="http://schemas.microsoft.com/office/drawing/2014/main" id="{10F6B19C-6891-FE40-A658-4DC33AC96ED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/>
        </p:blipFill>
        <p:spPr>
          <a:xfrm>
            <a:off x="3774472" y="4369258"/>
            <a:ext cx="1414800" cy="141480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52">
            <a:extLst>
              <a:ext uri="{FF2B5EF4-FFF2-40B4-BE49-F238E27FC236}">
                <a16:creationId xmlns:a16="http://schemas.microsoft.com/office/drawing/2014/main" id="{319DCF73-E63B-4844-B729-9E63ACEAF2E8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209" y="1889048"/>
            <a:ext cx="2180391" cy="984693"/>
          </a:xfrm>
          <a:prstGeom prst="rect">
            <a:avLst/>
          </a:prstGeom>
        </p:spPr>
      </p:pic>
      <p:pic>
        <p:nvPicPr>
          <p:cNvPr id="13" name="Picture 26">
            <a:extLst>
              <a:ext uri="{FF2B5EF4-FFF2-40B4-BE49-F238E27FC236}">
                <a16:creationId xmlns:a16="http://schemas.microsoft.com/office/drawing/2014/main" id="{7282B2BB-508C-E547-AB64-51A8E99198A6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183" y="2888295"/>
            <a:ext cx="1414585" cy="1414585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28">
            <a:extLst>
              <a:ext uri="{FF2B5EF4-FFF2-40B4-BE49-F238E27FC236}">
                <a16:creationId xmlns:a16="http://schemas.microsoft.com/office/drawing/2014/main" id="{E6659306-1BCE-5A4E-B976-31712EAA42D1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1" b="1481"/>
          <a:stretch/>
        </p:blipFill>
        <p:spPr>
          <a:xfrm>
            <a:off x="5512111" y="2891100"/>
            <a:ext cx="1416025" cy="1416025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35">
            <a:extLst>
              <a:ext uri="{FF2B5EF4-FFF2-40B4-BE49-F238E27FC236}">
                <a16:creationId xmlns:a16="http://schemas.microsoft.com/office/drawing/2014/main" id="{E0E75F7B-0A0D-8547-B033-50F6031A87C4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84" b="1584"/>
          <a:stretch/>
        </p:blipFill>
        <p:spPr>
          <a:xfrm>
            <a:off x="6384233" y="4352745"/>
            <a:ext cx="1419242" cy="1419242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61">
            <a:extLst>
              <a:ext uri="{FF2B5EF4-FFF2-40B4-BE49-F238E27FC236}">
                <a16:creationId xmlns:a16="http://schemas.microsoft.com/office/drawing/2014/main" id="{9FF4AF0D-6DE2-A840-9384-942117E3F46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57"/>
          <a:stretch/>
        </p:blipFill>
        <p:spPr>
          <a:xfrm>
            <a:off x="5624358" y="1928837"/>
            <a:ext cx="2180391" cy="498678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F9CD2CD7-ACC5-C246-9663-2A9A15ED61ED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136" b="5734"/>
          <a:stretch/>
        </p:blipFill>
        <p:spPr>
          <a:xfrm>
            <a:off x="9532980" y="2873741"/>
            <a:ext cx="1414800" cy="1414800"/>
          </a:xfrm>
          <a:prstGeom prst="ellipse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38D79CB-02BC-D84C-AFB6-13B622B0DB82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6360" t="4445" r="105"/>
          <a:stretch/>
        </p:blipFill>
        <p:spPr>
          <a:xfrm>
            <a:off x="9532980" y="4352745"/>
            <a:ext cx="1414800" cy="14148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9897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2417F-2AFF-D447-9BC1-552EF2B1B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ituation Toda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594809-03CC-9C4D-ADDE-850B6830AC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D517440-9222-354E-909C-58A3618237FA}"/>
              </a:ext>
            </a:extLst>
          </p:cNvPr>
          <p:cNvSpPr txBox="1">
            <a:spLocks/>
          </p:cNvSpPr>
          <p:nvPr/>
        </p:nvSpPr>
        <p:spPr>
          <a:xfrm>
            <a:off x="768096" y="1968500"/>
            <a:ext cx="10621421" cy="121920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r>
              <a:rPr lang="de-DE" dirty="0"/>
              <a:t>1 </a:t>
            </a:r>
            <a:r>
              <a:rPr lang="de-DE" dirty="0" err="1"/>
              <a:t>million</a:t>
            </a:r>
            <a:r>
              <a:rPr lang="de-DE" dirty="0"/>
              <a:t> </a:t>
            </a:r>
            <a:r>
              <a:rPr lang="de-DE" dirty="0" err="1"/>
              <a:t>people</a:t>
            </a:r>
            <a:r>
              <a:rPr lang="de-DE" dirty="0"/>
              <a:t> </a:t>
            </a:r>
            <a:r>
              <a:rPr lang="de-DE" dirty="0" err="1"/>
              <a:t>vis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oo </a:t>
            </a:r>
            <a:r>
              <a:rPr lang="de-DE" dirty="0" err="1"/>
              <a:t>Zurich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year</a:t>
            </a:r>
            <a:r>
              <a:rPr lang="de-DE" dirty="0"/>
              <a:t>.</a:t>
            </a:r>
            <a:br>
              <a:rPr lang="de-DE" dirty="0"/>
            </a:b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FE263DA-D081-8048-B857-B631EFA7A3C7}"/>
              </a:ext>
            </a:extLst>
          </p:cNvPr>
          <p:cNvSpPr txBox="1">
            <a:spLocks/>
          </p:cNvSpPr>
          <p:nvPr/>
        </p:nvSpPr>
        <p:spPr>
          <a:xfrm>
            <a:off x="768094" y="3427479"/>
            <a:ext cx="10621421" cy="83032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r>
              <a:rPr lang="de-DE" dirty="0"/>
              <a:t>Are </a:t>
            </a:r>
            <a:r>
              <a:rPr lang="de-DE" dirty="0" err="1"/>
              <a:t>visitors</a:t>
            </a:r>
            <a:r>
              <a:rPr lang="de-DE" dirty="0"/>
              <a:t> </a:t>
            </a:r>
            <a:r>
              <a:rPr lang="de-DE" dirty="0" err="1"/>
              <a:t>truly</a:t>
            </a:r>
            <a:r>
              <a:rPr lang="de-DE" dirty="0"/>
              <a:t> </a:t>
            </a:r>
            <a:r>
              <a:rPr lang="de-DE" dirty="0" err="1"/>
              <a:t>awa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planet?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CBD1E214-1941-314D-BFCD-C51C154FFA03}"/>
              </a:ext>
            </a:extLst>
          </p:cNvPr>
          <p:cNvSpPr txBox="1">
            <a:spLocks/>
          </p:cNvSpPr>
          <p:nvPr/>
        </p:nvSpPr>
        <p:spPr>
          <a:xfrm>
            <a:off x="768095" y="4748279"/>
            <a:ext cx="10621421" cy="121920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br>
              <a:rPr lang="de-DE" dirty="0"/>
            </a:br>
            <a:r>
              <a:rPr lang="de-DE" dirty="0"/>
              <a:t>Are </a:t>
            </a:r>
            <a:r>
              <a:rPr lang="de-DE" dirty="0" err="1"/>
              <a:t>visitors</a:t>
            </a:r>
            <a:r>
              <a:rPr lang="de-DE" dirty="0"/>
              <a:t> </a:t>
            </a:r>
            <a:r>
              <a:rPr lang="de-DE" dirty="0" err="1"/>
              <a:t>aware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utting</a:t>
            </a:r>
            <a:r>
              <a:rPr lang="de-DE" dirty="0"/>
              <a:t> </a:t>
            </a:r>
            <a:r>
              <a:rPr lang="de-DE" dirty="0" err="1"/>
              <a:t>liv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nguins</a:t>
            </a:r>
            <a:r>
              <a:rPr lang="de-DE" dirty="0"/>
              <a:t> at </a:t>
            </a:r>
            <a:r>
              <a:rPr lang="de-DE" dirty="0" err="1"/>
              <a:t>risk</a:t>
            </a:r>
            <a:r>
              <a:rPr lang="de-DE" dirty="0"/>
              <a:t>?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790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2417F-2AFF-D447-9BC1-552EF2B1B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594809-03CC-9C4D-ADDE-850B6830AC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FE263DA-D081-8048-B857-B631EFA7A3C7}"/>
              </a:ext>
            </a:extLst>
          </p:cNvPr>
          <p:cNvSpPr txBox="1">
            <a:spLocks/>
          </p:cNvSpPr>
          <p:nvPr/>
        </p:nvSpPr>
        <p:spPr>
          <a:xfrm>
            <a:off x="768096" y="3160781"/>
            <a:ext cx="10621421" cy="83032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algn="ctr"/>
            <a:r>
              <a:rPr lang="de-DE" sz="3200" dirty="0" err="1"/>
              <a:t>What</a:t>
            </a:r>
            <a:r>
              <a:rPr lang="de-DE" sz="3200" dirty="0"/>
              <a:t> </a:t>
            </a:r>
            <a:r>
              <a:rPr lang="de-DE" sz="3200" dirty="0" err="1"/>
              <a:t>is</a:t>
            </a:r>
            <a:r>
              <a:rPr lang="de-DE" sz="3200" dirty="0"/>
              <a:t> </a:t>
            </a:r>
            <a:r>
              <a:rPr lang="de-DE" sz="3200" dirty="0" err="1"/>
              <a:t>the</a:t>
            </a:r>
            <a:r>
              <a:rPr lang="de-DE" sz="3200" dirty="0"/>
              <a:t> </a:t>
            </a:r>
            <a:r>
              <a:rPr lang="de-DE" sz="3200" dirty="0" err="1"/>
              <a:t>best</a:t>
            </a:r>
            <a:r>
              <a:rPr lang="de-DE" sz="3200" dirty="0"/>
              <a:t> </a:t>
            </a:r>
            <a:r>
              <a:rPr lang="de-DE" sz="3200" dirty="0" err="1"/>
              <a:t>way</a:t>
            </a:r>
            <a:r>
              <a:rPr lang="de-DE" sz="3200" dirty="0"/>
              <a:t> </a:t>
            </a:r>
            <a:r>
              <a:rPr lang="de-DE" sz="3200" dirty="0" err="1"/>
              <a:t>to</a:t>
            </a:r>
            <a:r>
              <a:rPr lang="de-DE" sz="3200" dirty="0"/>
              <a:t> </a:t>
            </a:r>
            <a:r>
              <a:rPr lang="de-DE" sz="3200" dirty="0" err="1"/>
              <a:t>create</a:t>
            </a:r>
            <a:r>
              <a:rPr lang="de-DE" sz="3200" dirty="0"/>
              <a:t> </a:t>
            </a:r>
            <a:r>
              <a:rPr lang="de-DE" sz="3200" dirty="0" err="1"/>
              <a:t>awareness</a:t>
            </a:r>
            <a:r>
              <a:rPr lang="de-DE" sz="32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58914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D9B23CC-C870-4940-981E-EC12277E7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120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4D80C5-86A5-A140-B994-5D2BB93F9E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Oracle Sans" panose="020B0503020204020204" pitchFamily="34" charset="0"/>
              <a:sym typeface="Oracle Sans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B0D31-162D-1A41-8320-8FAB44C01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783026"/>
            <a:ext cx="7626757" cy="844095"/>
          </a:xfrm>
        </p:spPr>
        <p:txBody>
          <a:bodyPr/>
          <a:lstStyle/>
          <a:p>
            <a:r>
              <a:rPr lang="de-DE" dirty="0" err="1"/>
              <a:t>Penguins</a:t>
            </a:r>
            <a:r>
              <a:rPr lang="de-DE" dirty="0"/>
              <a:t> live in </a:t>
            </a:r>
            <a:r>
              <a:rPr lang="de-DE" dirty="0" err="1"/>
              <a:t>the</a:t>
            </a:r>
            <a:r>
              <a:rPr lang="de-DE" dirty="0"/>
              <a:t> Southern </a:t>
            </a:r>
            <a:r>
              <a:rPr lang="de-DE" dirty="0" err="1"/>
              <a:t>Hemisphe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me</a:t>
            </a:r>
            <a:r>
              <a:rPr lang="de-DE" dirty="0"/>
              <a:t> in 18 </a:t>
            </a:r>
            <a:r>
              <a:rPr lang="de-DE" dirty="0" err="1"/>
              <a:t>shap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zes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466CF2E-6D5C-A642-8B28-968F54D43E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80659D8-C54F-5A44-823C-484E37F12CF6}"/>
              </a:ext>
            </a:extLst>
          </p:cNvPr>
          <p:cNvGrpSpPr/>
          <p:nvPr/>
        </p:nvGrpSpPr>
        <p:grpSpPr>
          <a:xfrm>
            <a:off x="768096" y="2336732"/>
            <a:ext cx="10377983" cy="4019618"/>
            <a:chOff x="768096" y="1964662"/>
            <a:chExt cx="10377983" cy="4019618"/>
          </a:xfrm>
        </p:grpSpPr>
        <p:pic>
          <p:nvPicPr>
            <p:cNvPr id="16" name="Picture 4" descr="Image may contain: text">
              <a:extLst>
                <a:ext uri="{FF2B5EF4-FFF2-40B4-BE49-F238E27FC236}">
                  <a16:creationId xmlns:a16="http://schemas.microsoft.com/office/drawing/2014/main" id="{98AE4A71-5FC4-F647-938A-4AAD8B8370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96" y="1964662"/>
              <a:ext cx="10171249" cy="378878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6EB6AE7-2D11-5E42-94B1-0E33FE681FE3}"/>
                </a:ext>
              </a:extLst>
            </p:cNvPr>
            <p:cNvSpPr/>
            <p:nvPr/>
          </p:nvSpPr>
          <p:spPr>
            <a:xfrm>
              <a:off x="4971245" y="5753448"/>
              <a:ext cx="6174834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900" dirty="0"/>
                <a:t>Illustration </a:t>
              </a:r>
              <a:r>
                <a:rPr lang="de-DE" sz="900" dirty="0" err="1"/>
                <a:t>Credits</a:t>
              </a:r>
              <a:r>
                <a:rPr lang="de-DE" sz="900" dirty="0"/>
                <a:t>: </a:t>
              </a:r>
              <a:r>
                <a:rPr lang="de-DE" sz="900" dirty="0" err="1"/>
                <a:t>Peppermint</a:t>
              </a:r>
              <a:r>
                <a:rPr lang="de-DE" sz="900" dirty="0"/>
                <a:t> </a:t>
              </a:r>
              <a:r>
                <a:rPr lang="de-DE" sz="900" dirty="0" err="1"/>
                <a:t>Narwahl</a:t>
              </a:r>
              <a:r>
                <a:rPr lang="de-DE" sz="900" dirty="0"/>
                <a:t> Creative </a:t>
              </a:r>
              <a:r>
                <a:rPr lang="de-DE" sz="900" dirty="0" err="1"/>
                <a:t>Foundation</a:t>
              </a:r>
              <a:r>
                <a:rPr lang="de-DE" sz="900" dirty="0"/>
                <a:t> (University </a:t>
              </a:r>
              <a:r>
                <a:rPr lang="de-DE" sz="900" dirty="0" err="1"/>
                <a:t>of</a:t>
              </a:r>
              <a:r>
                <a:rPr lang="de-DE" sz="900" dirty="0"/>
                <a:t> California „</a:t>
              </a:r>
              <a:r>
                <a:rPr lang="de-DE" sz="900" dirty="0" err="1"/>
                <a:t>Where</a:t>
              </a:r>
              <a:r>
                <a:rPr lang="de-DE" sz="900" dirty="0"/>
                <a:t> </a:t>
              </a:r>
              <a:r>
                <a:rPr lang="de-DE" sz="900" dirty="0" err="1"/>
                <a:t>Penguins</a:t>
              </a:r>
              <a:r>
                <a:rPr lang="de-DE" sz="900" dirty="0"/>
                <a:t> Live“ 1995)</a:t>
              </a:r>
            </a:p>
          </p:txBody>
        </p:sp>
      </p:grpSp>
      <p:pic>
        <p:nvPicPr>
          <p:cNvPr id="8" name="Picture 6" descr="Bildergebnis fÃ¼r penguins around the world map">
            <a:extLst>
              <a:ext uri="{FF2B5EF4-FFF2-40B4-BE49-F238E27FC236}">
                <a16:creationId xmlns:a16="http://schemas.microsoft.com/office/drawing/2014/main" id="{42F65450-978A-514D-A121-67B06C2BC3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4" b="20590"/>
          <a:stretch/>
        </p:blipFill>
        <p:spPr bwMode="auto">
          <a:xfrm>
            <a:off x="8571066" y="1014846"/>
            <a:ext cx="3290376" cy="333412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421521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00D013-A49F-914E-8D9A-845124203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783026"/>
            <a:ext cx="7288272" cy="844095"/>
          </a:xfrm>
        </p:spPr>
        <p:txBody>
          <a:bodyPr/>
          <a:lstStyle/>
          <a:p>
            <a:r>
              <a:rPr lang="de-DE" dirty="0" err="1"/>
              <a:t>Pengui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loners</a:t>
            </a:r>
            <a:r>
              <a:rPr lang="de-DE" dirty="0"/>
              <a:t>.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meet</a:t>
            </a:r>
            <a:r>
              <a:rPr lang="de-DE" dirty="0"/>
              <a:t> in large </a:t>
            </a:r>
            <a:r>
              <a:rPr lang="de-DE" dirty="0" err="1"/>
              <a:t>colon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ousands</a:t>
            </a:r>
            <a:r>
              <a:rPr lang="de-DE" dirty="0"/>
              <a:t> at a tim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nest</a:t>
            </a:r>
            <a:r>
              <a:rPr lang="de-DE" dirty="0"/>
              <a:t>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417780-E233-FB4B-9325-0ECAE504B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B3FE4C3-E903-5E46-BB4A-132E7CE9CBE8}"/>
              </a:ext>
            </a:extLst>
          </p:cNvPr>
          <p:cNvSpPr/>
          <p:nvPr/>
        </p:nvSpPr>
        <p:spPr>
          <a:xfrm>
            <a:off x="633600" y="2221385"/>
            <a:ext cx="71604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Penguins need to properly time when to migrate, nest, mate and seek food within seasonal limits to complete their life cycle – all while navigating a gamut of human-induced threats along the way.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5857DA3C-7DDE-F349-843A-077B1BC36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4345" y="1104197"/>
            <a:ext cx="3957283" cy="22822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3DB380D-F597-484B-8E34-28D01AAD52F0}"/>
              </a:ext>
            </a:extLst>
          </p:cNvPr>
          <p:cNvGrpSpPr/>
          <p:nvPr/>
        </p:nvGrpSpPr>
        <p:grpSpPr>
          <a:xfrm>
            <a:off x="7944345" y="3618922"/>
            <a:ext cx="3957283" cy="2753554"/>
            <a:chOff x="7944345" y="3330681"/>
            <a:chExt cx="3957283" cy="2753554"/>
          </a:xfrm>
        </p:grpSpPr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DDE572FD-FDF5-2F47-8279-E891FF6875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0508"/>
            <a:stretch/>
          </p:blipFill>
          <p:spPr>
            <a:xfrm>
              <a:off x="7944345" y="3330681"/>
              <a:ext cx="3957283" cy="2363375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900C312-E846-4D44-B4C8-C653F358855D}"/>
                </a:ext>
              </a:extLst>
            </p:cNvPr>
            <p:cNvSpPr/>
            <p:nvPr/>
          </p:nvSpPr>
          <p:spPr>
            <a:xfrm>
              <a:off x="7944345" y="5714903"/>
              <a:ext cx="395728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900" dirty="0"/>
                <a:t>Humboldt </a:t>
              </a:r>
              <a:r>
                <a:rPr lang="de-DE" sz="900" dirty="0" err="1"/>
                <a:t>penguin</a:t>
              </a:r>
              <a:r>
                <a:rPr lang="de-DE" sz="900" dirty="0"/>
                <a:t> </a:t>
              </a:r>
              <a:r>
                <a:rPr lang="de-DE" sz="900" dirty="0" err="1"/>
                <a:t>artificial</a:t>
              </a:r>
              <a:r>
                <a:rPr lang="de-DE" sz="900" dirty="0"/>
                <a:t> </a:t>
              </a:r>
              <a:r>
                <a:rPr lang="de-DE" sz="900" dirty="0" err="1"/>
                <a:t>tunnel</a:t>
              </a:r>
              <a:r>
                <a:rPr lang="de-DE" sz="900" dirty="0"/>
                <a:t> </a:t>
              </a:r>
              <a:r>
                <a:rPr lang="de-DE" sz="900" dirty="0" err="1"/>
                <a:t>nests</a:t>
              </a:r>
              <a:r>
                <a:rPr lang="de-DE" sz="900" dirty="0"/>
                <a:t> in Peru (</a:t>
              </a:r>
              <a:r>
                <a:rPr lang="de-DE" sz="900" dirty="0" err="1"/>
                <a:t>cactus-lined</a:t>
              </a:r>
              <a:r>
                <a:rPr lang="de-DE" sz="900" dirty="0"/>
                <a:t> </a:t>
              </a:r>
              <a:r>
                <a:rPr lang="de-DE" sz="900" dirty="0" err="1"/>
                <a:t>lanscape</a:t>
              </a:r>
              <a:r>
                <a:rPr lang="de-DE" sz="900" dirty="0"/>
                <a:t>) (</a:t>
              </a:r>
              <a:r>
                <a:rPr lang="de-DE" sz="900" dirty="0" err="1"/>
                <a:t>Photo</a:t>
              </a:r>
              <a:r>
                <a:rPr lang="de-DE" sz="900" dirty="0"/>
                <a:t>: Cardenas </a:t>
              </a:r>
              <a:r>
                <a:rPr lang="de-DE" sz="900" i="1" dirty="0"/>
                <a:t>et al</a:t>
              </a:r>
              <a:r>
                <a:rPr lang="de-DE" sz="900" dirty="0"/>
                <a:t>., 2012)</a:t>
              </a:r>
              <a:endParaRPr lang="en-US" sz="900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70E94B3-B06A-8B4D-A5E2-9864ECFF61D7}"/>
              </a:ext>
            </a:extLst>
          </p:cNvPr>
          <p:cNvGrpSpPr/>
          <p:nvPr/>
        </p:nvGrpSpPr>
        <p:grpSpPr>
          <a:xfrm>
            <a:off x="4270005" y="3616804"/>
            <a:ext cx="3611517" cy="2617172"/>
            <a:chOff x="4270005" y="3328563"/>
            <a:chExt cx="3611517" cy="2617172"/>
          </a:xfrm>
        </p:grpSpPr>
        <p:pic>
          <p:nvPicPr>
            <p:cNvPr id="23" name="Picture 2" descr="Penguin Social Structure">
              <a:extLst>
                <a:ext uri="{FF2B5EF4-FFF2-40B4-BE49-F238E27FC236}">
                  <a16:creationId xmlns:a16="http://schemas.microsoft.com/office/drawing/2014/main" id="{7775086D-29AC-0C43-97AB-C19C305954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500"/>
            <a:stretch/>
          </p:blipFill>
          <p:spPr bwMode="auto">
            <a:xfrm>
              <a:off x="4270005" y="3328563"/>
              <a:ext cx="3524023" cy="2365494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6501CB6-7728-FD43-A540-FE2F9645C929}"/>
                </a:ext>
              </a:extLst>
            </p:cNvPr>
            <p:cNvSpPr/>
            <p:nvPr/>
          </p:nvSpPr>
          <p:spPr>
            <a:xfrm>
              <a:off x="6559653" y="5714903"/>
              <a:ext cx="132186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900" dirty="0"/>
                <a:t>King Penguin </a:t>
              </a:r>
              <a:r>
                <a:rPr lang="de-DE" sz="900" dirty="0" err="1"/>
                <a:t>colony</a:t>
              </a:r>
              <a:endParaRPr lang="en-US" sz="900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AC01900-C38A-5347-92D0-7B8F616C05A2}"/>
              </a:ext>
            </a:extLst>
          </p:cNvPr>
          <p:cNvGrpSpPr/>
          <p:nvPr/>
        </p:nvGrpSpPr>
        <p:grpSpPr>
          <a:xfrm>
            <a:off x="666337" y="3616803"/>
            <a:ext cx="3562588" cy="2617173"/>
            <a:chOff x="666337" y="3328562"/>
            <a:chExt cx="3562588" cy="2617173"/>
          </a:xfrm>
        </p:grpSpPr>
        <p:pic>
          <p:nvPicPr>
            <p:cNvPr id="24" name="Picture 4" descr="African penguins are now nesting in the open in some South African locations. ">
              <a:extLst>
                <a:ext uri="{FF2B5EF4-FFF2-40B4-BE49-F238E27FC236}">
                  <a16:creationId xmlns:a16="http://schemas.microsoft.com/office/drawing/2014/main" id="{2C4CF87B-40A2-AA46-BF8D-DEE4AB7BD5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337" y="3328562"/>
              <a:ext cx="3453351" cy="2365494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3AEF1D7B-966B-E341-AAC2-FC16696E93C9}"/>
                </a:ext>
              </a:extLst>
            </p:cNvPr>
            <p:cNvSpPr/>
            <p:nvPr/>
          </p:nvSpPr>
          <p:spPr>
            <a:xfrm>
              <a:off x="1556385" y="5714903"/>
              <a:ext cx="267254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900" dirty="0"/>
                <a:t>African </a:t>
              </a:r>
              <a:r>
                <a:rPr lang="de-DE" sz="900" dirty="0" err="1"/>
                <a:t>Penguin</a:t>
              </a:r>
              <a:r>
                <a:rPr lang="de-DE" sz="900" dirty="0"/>
                <a:t> </a:t>
              </a:r>
              <a:r>
                <a:rPr lang="de-DE" sz="900" dirty="0" err="1"/>
                <a:t>nesting</a:t>
              </a:r>
              <a:r>
                <a:rPr lang="de-DE" sz="900" dirty="0"/>
                <a:t> (</a:t>
              </a:r>
              <a:r>
                <a:rPr lang="de-DE" sz="900" dirty="0" err="1"/>
                <a:t>Photo</a:t>
              </a:r>
              <a:r>
                <a:rPr lang="de-DE" sz="900" dirty="0"/>
                <a:t>: Kevin Graham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311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FF75E4-E9EF-094D-8A78-B3DCF726B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IUCN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/>
              <a:t>baromet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r>
              <a:rPr lang="de-DE" dirty="0"/>
              <a:t>: 13 </a:t>
            </a:r>
            <a:r>
              <a:rPr lang="de-DE" dirty="0" err="1"/>
              <a:t>penguin</a:t>
            </a:r>
            <a:r>
              <a:rPr lang="de-DE" dirty="0"/>
              <a:t> </a:t>
            </a:r>
            <a:r>
              <a:rPr lang="de-DE" dirty="0" err="1"/>
              <a:t>speci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isted</a:t>
            </a:r>
            <a:r>
              <a:rPr lang="de-DE" dirty="0"/>
              <a:t> in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categor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re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extinc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F7A0C2-9409-EC4E-A12D-89E3015212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60F8A61-F2D7-E64E-A578-B1916F00C562}"/>
              </a:ext>
            </a:extLst>
          </p:cNvPr>
          <p:cNvGrpSpPr/>
          <p:nvPr/>
        </p:nvGrpSpPr>
        <p:grpSpPr>
          <a:xfrm>
            <a:off x="826821" y="2476094"/>
            <a:ext cx="10545503" cy="3030033"/>
            <a:chOff x="0" y="1211882"/>
            <a:chExt cx="12075513" cy="3564132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81C9D7C-C707-2440-93FA-FC6105D16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211882"/>
              <a:ext cx="7628775" cy="271153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9F2790AF-B850-DA4C-B850-D67A3B7CDB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3565876"/>
              <a:ext cx="5129738" cy="121013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  <p:pic>
          <p:nvPicPr>
            <p:cNvPr id="9" name="Picture 2" descr="http://www.andersonimages.co.uk/wp-content/uploads/2017/01/PenguinStatusChart.jpg">
              <a:extLst>
                <a:ext uri="{FF2B5EF4-FFF2-40B4-BE49-F238E27FC236}">
                  <a16:creationId xmlns:a16="http://schemas.microsoft.com/office/drawing/2014/main" id="{51E1BA3C-547B-C94B-AB59-855AFD2C44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60" t="13148" r="3146" b="21417"/>
            <a:stretch/>
          </p:blipFill>
          <p:spPr bwMode="auto">
            <a:xfrm>
              <a:off x="4994633" y="1212752"/>
              <a:ext cx="7080880" cy="356326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</p:grpSp>
    </p:spTree>
    <p:extLst>
      <p:ext uri="{BB962C8B-B14F-4D97-AF65-F5344CB8AC3E}">
        <p14:creationId xmlns:p14="http://schemas.microsoft.com/office/powerpoint/2010/main" val="257949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8B508E-A947-6144-B06B-65636635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uman-induced threat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5113C3-5697-BF4C-985C-30CC481A7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371504-33D9-B044-8C50-620C44A06CB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A0A440E-ABEA-CD4F-B87A-6BDE8AA399C7}"/>
              </a:ext>
            </a:extLst>
          </p:cNvPr>
          <p:cNvSpPr txBox="1">
            <a:spLocks/>
          </p:cNvSpPr>
          <p:nvPr/>
        </p:nvSpPr>
        <p:spPr>
          <a:xfrm>
            <a:off x="633600" y="2106219"/>
            <a:ext cx="4274964" cy="313718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Climate variability and warming of sea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Overfishing, reduced food availabil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Habitat degrada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Marine pollution (Plastics, Mercury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Pathogens and diseas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Toxic algal poiso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Harvesting of adults for oil, skin, and feathers and as bait for crab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Harvesting of eggs (egging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/>
          </a:p>
          <a:p>
            <a:endParaRPr lang="en-US" sz="1600" dirty="0"/>
          </a:p>
          <a:p>
            <a:endParaRPr lang="en-GB" sz="16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A80F00C-8992-9B44-BC18-CCE702E2ECAB}"/>
              </a:ext>
            </a:extLst>
          </p:cNvPr>
          <p:cNvSpPr/>
          <p:nvPr/>
        </p:nvSpPr>
        <p:spPr>
          <a:xfrm>
            <a:off x="633600" y="5240055"/>
            <a:ext cx="42749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/>
              <a:t>Penguins </a:t>
            </a:r>
            <a:r>
              <a:rPr lang="en-GB" sz="1600" dirty="0"/>
              <a:t>are top predators and </a:t>
            </a:r>
            <a:r>
              <a:rPr lang="de-DE" sz="1600" dirty="0"/>
              <a:t> </a:t>
            </a:r>
            <a:r>
              <a:rPr lang="de-DE" sz="1600" b="1" dirty="0" err="1"/>
              <a:t>flagship</a:t>
            </a:r>
            <a:r>
              <a:rPr lang="de-DE" sz="1600" b="1" dirty="0"/>
              <a:t> </a:t>
            </a:r>
            <a:r>
              <a:rPr lang="de-DE" sz="1600" b="1" dirty="0" err="1"/>
              <a:t>species</a:t>
            </a:r>
            <a:r>
              <a:rPr lang="de-DE" sz="1600" b="1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entire</a:t>
            </a:r>
            <a:r>
              <a:rPr lang="de-DE" sz="1600" dirty="0"/>
              <a:t> marine </a:t>
            </a:r>
            <a:r>
              <a:rPr lang="de-DE" sz="1600" dirty="0" err="1"/>
              <a:t>ecosystems</a:t>
            </a:r>
            <a:endParaRPr lang="en-US" sz="16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386CEBD-3378-C443-9409-9D7573603B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0" t="2039" r="257" b="638"/>
          <a:stretch/>
        </p:blipFill>
        <p:spPr>
          <a:xfrm>
            <a:off x="5221432" y="1911927"/>
            <a:ext cx="6374823" cy="36576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362B704F-B0A6-5347-B17A-1CFFEF342515}"/>
              </a:ext>
            </a:extLst>
          </p:cNvPr>
          <p:cNvSpPr/>
          <p:nvPr/>
        </p:nvSpPr>
        <p:spPr>
          <a:xfrm>
            <a:off x="5274300" y="5588444"/>
            <a:ext cx="632195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Citation: </a:t>
            </a:r>
            <a:r>
              <a:rPr lang="en-US" sz="900" i="1" dirty="0"/>
              <a:t>Special Report on the Ocean and Cryosphere in a Changing Climate. Chapter:3 Polar Regions. September 2019</a:t>
            </a:r>
          </a:p>
        </p:txBody>
      </p:sp>
    </p:spTree>
    <p:extLst>
      <p:ext uri="{BB962C8B-B14F-4D97-AF65-F5344CB8AC3E}">
        <p14:creationId xmlns:p14="http://schemas.microsoft.com/office/powerpoint/2010/main" val="327141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4FLd8sNqW4rR2ziAPB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46E68VOAeQBGKTP8LO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46E68VOAeQBGKTP8LO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46E68VOAeQBGKTP8LO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Pm4pya9HpDBCxuDB2I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I8oLrCx85EhvYPuTbK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46E68VOAeQBGKTP8LORg"/>
</p:tagLst>
</file>

<file path=ppt/theme/theme1.xml><?xml version="1.0" encoding="utf-8"?>
<a:theme xmlns:a="http://schemas.openxmlformats.org/drawingml/2006/main" name="Light Master ">
  <a:themeElements>
    <a:clrScheme name="Oracle NEW">
      <a:dk1>
        <a:srgbClr val="4E3629"/>
      </a:dk1>
      <a:lt1>
        <a:sysClr val="window" lastClr="FFFFFF"/>
      </a:lt1>
      <a:dk2>
        <a:srgbClr val="312D2A"/>
      </a:dk2>
      <a:lt2>
        <a:srgbClr val="E0E2E1"/>
      </a:lt2>
      <a:accent1>
        <a:srgbClr val="D1350F"/>
      </a:accent1>
      <a:accent2>
        <a:srgbClr val="E6AC58"/>
      </a:accent2>
      <a:accent3>
        <a:srgbClr val="94AFAF"/>
      </a:accent3>
      <a:accent4>
        <a:srgbClr val="2B6242"/>
      </a:accent4>
      <a:accent5>
        <a:srgbClr val="2C5967"/>
      </a:accent5>
      <a:accent6>
        <a:srgbClr val="AE562C"/>
      </a:accent6>
      <a:hlink>
        <a:srgbClr val="2C5967"/>
      </a:hlink>
      <a:folHlink>
        <a:srgbClr val="F5B64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cle Redwood 2019" id="{7584C4F3-CC90-0640-ABF3-209B082F8BEC}" vid="{157F712D-476D-5D46-B09D-7E7C1FB433E9}"/>
    </a:ext>
  </a:extLst>
</a:theme>
</file>

<file path=ppt/theme/theme2.xml><?xml version="1.0" encoding="utf-8"?>
<a:theme xmlns:a="http://schemas.openxmlformats.org/drawingml/2006/main" name="Dark Master">
  <a:themeElements>
    <a:clrScheme name="Oracle NEW">
      <a:dk1>
        <a:srgbClr val="4E3629"/>
      </a:dk1>
      <a:lt1>
        <a:sysClr val="window" lastClr="FFFFFF"/>
      </a:lt1>
      <a:dk2>
        <a:srgbClr val="312D2A"/>
      </a:dk2>
      <a:lt2>
        <a:srgbClr val="E0E2E1"/>
      </a:lt2>
      <a:accent1>
        <a:srgbClr val="D1350F"/>
      </a:accent1>
      <a:accent2>
        <a:srgbClr val="F5B642"/>
      </a:accent2>
      <a:accent3>
        <a:srgbClr val="9DBEC4"/>
      </a:accent3>
      <a:accent4>
        <a:srgbClr val="006E43"/>
      </a:accent4>
      <a:accent5>
        <a:srgbClr val="2C5967"/>
      </a:accent5>
      <a:accent6>
        <a:srgbClr val="79726D"/>
      </a:accent6>
      <a:hlink>
        <a:srgbClr val="2C5967"/>
      </a:hlink>
      <a:folHlink>
        <a:srgbClr val="F5B642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cle Redwood 2019" id="{7584C4F3-CC90-0640-ABF3-209B082F8BEC}" vid="{41F93046-13BE-7A49-A4C5-899FBA2FE49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ght Master </Template>
  <TotalTime>0</TotalTime>
  <Words>1338</Words>
  <Application>Microsoft Macintosh PowerPoint</Application>
  <PresentationFormat>Breitbild</PresentationFormat>
  <Paragraphs>241</Paragraphs>
  <Slides>3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1" baseType="lpstr">
      <vt:lpstr>Arial</vt:lpstr>
      <vt:lpstr>Calibri</vt:lpstr>
      <vt:lpstr>Georgia</vt:lpstr>
      <vt:lpstr>Oracle Sans</vt:lpstr>
      <vt:lpstr>Oracle Sans Light</vt:lpstr>
      <vt:lpstr>Slack-Lato</vt:lpstr>
      <vt:lpstr>Wingdings</vt:lpstr>
      <vt:lpstr>Light Master </vt:lpstr>
      <vt:lpstr>Dark Master</vt:lpstr>
      <vt:lpstr>think-cell Slide</vt:lpstr>
      <vt:lpstr>Title slide with picture border</vt:lpstr>
      <vt:lpstr>Safe harbor statement</vt:lpstr>
      <vt:lpstr>Program agenda</vt:lpstr>
      <vt:lpstr>Situation Today</vt:lpstr>
      <vt:lpstr>Challenge</vt:lpstr>
      <vt:lpstr>Penguins live in the Southern Hemisphere and come in 18 shapes and sizes</vt:lpstr>
      <vt:lpstr>Penguins are not loners. They meet in large colonies of thousands at a time to nest </vt:lpstr>
      <vt:lpstr>The IUCN Red list is our official barometer of life: 13 penguin species are listed in some category of threat with extinction</vt:lpstr>
      <vt:lpstr>Human-induced threats</vt:lpstr>
      <vt:lpstr>Not all human-induced threats are equal</vt:lpstr>
      <vt:lpstr>Research helps us disentangle the complex web of critical threats</vt:lpstr>
      <vt:lpstr>What roles does Zoo Zürich play to save the penguins? </vt:lpstr>
      <vt:lpstr>Threat: a warming climate</vt:lpstr>
      <vt:lpstr>PowerPoint-Präsentation</vt:lpstr>
      <vt:lpstr>Threat: overfishing &amp; harvesting</vt:lpstr>
      <vt:lpstr>How will YOU help  save the penguins from marching towards extinction? </vt:lpstr>
      <vt:lpstr>Program agenda</vt:lpstr>
      <vt:lpstr>Challenge in Detail</vt:lpstr>
      <vt:lpstr>Challenge ideas</vt:lpstr>
      <vt:lpstr>Your Challenge</vt:lpstr>
      <vt:lpstr>Program agenda</vt:lpstr>
      <vt:lpstr>Potential Data Sources (1/2)</vt:lpstr>
      <vt:lpstr>Potential Data Sources (2/2)</vt:lpstr>
      <vt:lpstr>Program agenda</vt:lpstr>
      <vt:lpstr>Oracle Labs Data Studio</vt:lpstr>
      <vt:lpstr>Oracle Parallel Graph AnalitiX (PGX)</vt:lpstr>
      <vt:lpstr>Oracle Parallel Graph Query Language (PGQL)</vt:lpstr>
      <vt:lpstr>Sample Data Studio Notebook &amp; Graphs</vt:lpstr>
      <vt:lpstr>Our support to you</vt:lpstr>
      <vt:lpstr>Useful Links</vt:lpstr>
      <vt:lpstr>The HackZurich Tea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install fonts before using</dc:title>
  <dc:creator>Albert Noll</dc:creator>
  <cp:lastModifiedBy>Albert Noll</cp:lastModifiedBy>
  <cp:revision>26</cp:revision>
  <dcterms:created xsi:type="dcterms:W3CDTF">2019-09-26T18:20:45Z</dcterms:created>
  <dcterms:modified xsi:type="dcterms:W3CDTF">2019-09-27T19:44:48Z</dcterms:modified>
</cp:coreProperties>
</file>